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25"/>
  </p:notesMasterIdLst>
  <p:handoutMasterIdLst>
    <p:handoutMasterId r:id="rId26"/>
  </p:handoutMasterIdLst>
  <p:sldIdLst>
    <p:sldId id="439" r:id="rId3"/>
    <p:sldId id="534" r:id="rId4"/>
    <p:sldId id="542" r:id="rId5"/>
    <p:sldId id="541" r:id="rId6"/>
    <p:sldId id="546" r:id="rId7"/>
    <p:sldId id="531" r:id="rId8"/>
    <p:sldId id="532" r:id="rId9"/>
    <p:sldId id="533" r:id="rId10"/>
    <p:sldId id="543" r:id="rId11"/>
    <p:sldId id="548" r:id="rId12"/>
    <p:sldId id="549" r:id="rId13"/>
    <p:sldId id="540" r:id="rId14"/>
    <p:sldId id="539" r:id="rId15"/>
    <p:sldId id="538" r:id="rId16"/>
    <p:sldId id="536" r:id="rId17"/>
    <p:sldId id="551" r:id="rId18"/>
    <p:sldId id="535" r:id="rId19"/>
    <p:sldId id="552" r:id="rId20"/>
    <p:sldId id="553" r:id="rId21"/>
    <p:sldId id="544" r:id="rId22"/>
    <p:sldId id="545" r:id="rId23"/>
    <p:sldId id="554" r:id="rId24"/>
  </p:sldIdLst>
  <p:sldSz cx="12192000" cy="6858000"/>
  <p:notesSz cx="6797675" cy="987425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25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iev Ruslan (HQ)" initials="AR(" lastIdx="0" clrIdx="0">
    <p:extLst>
      <p:ext uri="{19B8F6BF-5375-455C-9EA6-DF929625EA0E}">
        <p15:presenceInfo xmlns:p15="http://schemas.microsoft.com/office/powerpoint/2012/main" userId="Aliev Ruslan (HQ)" providerId="None"/>
      </p:ext>
    </p:extLst>
  </p:cmAuthor>
  <p:cmAuthor id="2" name="Stepanova Anna (HQ)" initials="SA(" lastIdx="12" clrIdx="1">
    <p:extLst>
      <p:ext uri="{19B8F6BF-5375-455C-9EA6-DF929625EA0E}">
        <p15:presenceInfo xmlns:p15="http://schemas.microsoft.com/office/powerpoint/2012/main" userId="Stepanova Anna (HQ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B93C"/>
    <a:srgbClr val="731982"/>
    <a:srgbClr val="00B956"/>
    <a:srgbClr val="79FFB9"/>
    <a:srgbClr val="0067AC"/>
    <a:srgbClr val="348DC5"/>
    <a:srgbClr val="3BA6DD"/>
    <a:srgbClr val="42C3E6"/>
    <a:srgbClr val="04D0E0"/>
    <a:srgbClr val="4441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187" autoAdjust="0"/>
    <p:restoredTop sz="92927" autoAdjust="0"/>
  </p:normalViewPr>
  <p:slideViewPr>
    <p:cSldViewPr snapToGrid="0">
      <p:cViewPr varScale="1">
        <p:scale>
          <a:sx n="121" d="100"/>
          <a:sy n="121" d="100"/>
        </p:scale>
        <p:origin x="90" y="96"/>
      </p:cViewPr>
      <p:guideLst>
        <p:guide pos="325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" d="100"/>
        <a:sy n="20" d="100"/>
      </p:scale>
      <p:origin x="0" y="0"/>
    </p:cViewPr>
  </p:sorterViewPr>
  <p:notesViewPr>
    <p:cSldViewPr snapToGrid="0" showGuides="1">
      <p:cViewPr varScale="1">
        <p:scale>
          <a:sx n="66" d="100"/>
          <a:sy n="66" d="100"/>
        </p:scale>
        <p:origin x="3107" y="5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0A3A43-1A27-40DD-90F9-A05FF8DB3021}" type="datetimeFigureOut">
              <a:rPr lang="ru-RU" smtClean="0"/>
              <a:t>04.12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BF99EA-B934-451B-9E6B-3C24DED33F7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36790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3BEEB9-B7CC-4288-9625-B9C44F76FDC5}" type="datetimeFigureOut">
              <a:rPr lang="ru-RU" smtClean="0"/>
              <a:t>04.12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36563" y="1233488"/>
            <a:ext cx="5924550" cy="3333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51983"/>
            <a:ext cx="5438140" cy="388798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444912-40D0-41BA-B1A8-03F024699A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554693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444912-40D0-41BA-B1A8-03F024699A0F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461758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444912-40D0-41BA-B1A8-03F024699A0F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754537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B3FA93-D4A7-47E2-BBB9-E15276C28BC5}" type="slidenum">
              <a:rPr lang="ru-RU" smtClean="0"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365274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B3FA93-D4A7-47E2-BBB9-E15276C28BC5}" type="slidenum">
              <a:rPr lang="ru-RU" smtClean="0"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87311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0019DF-37DF-4909-8A0B-0588E88C96FB}" type="datetime1">
              <a:rPr lang="ru-RU" smtClean="0"/>
              <a:t>04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3069584" y="5257800"/>
            <a:ext cx="2743200" cy="365125"/>
          </a:xfrm>
        </p:spPr>
        <p:txBody>
          <a:bodyPr/>
          <a:lstStyle/>
          <a:p>
            <a:fld id="{50BD42C2-9CC4-4324-AC1B-3D1B3C09CF9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3939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172272-2C4A-46DF-965A-EC58C04CA159}" type="datetime1">
              <a:rPr lang="ru-RU" smtClean="0"/>
              <a:t>04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BD42C2-9CC4-4324-AC1B-3D1B3C09CF9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63697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CFC15E-572E-474E-85A3-EAF126FFB2D2}" type="datetime1">
              <a:rPr lang="ru-RU" smtClean="0"/>
              <a:t>04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BD42C2-9CC4-4324-AC1B-3D1B3C09CF9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602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6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/>
        </p:nvSpPr>
        <p:spPr>
          <a:xfrm>
            <a:off x="0" y="1"/>
            <a:ext cx="12192000" cy="568095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5970" tIns="47985" rIns="95970" bIns="47985" rtlCol="0" anchor="t" anchorCtr="0"/>
          <a:lstStyle/>
          <a:p>
            <a:pPr algn="ctr" defTabSz="609402"/>
            <a:endParaRPr lang="ru-RU" sz="2133" dirty="0">
              <a:solidFill>
                <a:srgbClr val="FFFFFF"/>
              </a:solidFill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>
          <a:xfrm>
            <a:off x="384000" y="1701276"/>
            <a:ext cx="11426733" cy="1473282"/>
          </a:xfrm>
        </p:spPr>
        <p:txBody>
          <a:bodyPr anchor="b"/>
          <a:lstStyle>
            <a:lvl1pPr>
              <a:defRPr sz="5332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MegaFon Presentation title in</a:t>
            </a:r>
            <a:br>
              <a:rPr lang="ru-RU" dirty="0"/>
            </a:br>
            <a:r>
              <a:rPr lang="ru-RU" dirty="0"/>
              <a:t>two lines of copy text (34pt)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84001" y="3330710"/>
            <a:ext cx="9478433" cy="298717"/>
          </a:xfrm>
        </p:spPr>
        <p:txBody>
          <a:bodyPr/>
          <a:lstStyle>
            <a:lvl1pPr>
              <a:defRPr sz="1599" b="1">
                <a:solidFill>
                  <a:schemeClr val="accent2"/>
                </a:solidFill>
                <a:latin typeface="+mj-lt"/>
              </a:defRPr>
            </a:lvl1pPr>
            <a:lvl2pPr>
              <a:defRPr>
                <a:latin typeface="Arial Black" panose="020B0A04020102020204" pitchFamily="34" charset="0"/>
              </a:defRPr>
            </a:lvl2pPr>
            <a:lvl3pPr>
              <a:defRPr>
                <a:latin typeface="Arial Black" panose="020B0A04020102020204" pitchFamily="34" charset="0"/>
              </a:defRPr>
            </a:lvl3pPr>
            <a:lvl4pPr>
              <a:defRPr>
                <a:latin typeface="Arial Black" panose="020B0A04020102020204" pitchFamily="34" charset="0"/>
              </a:defRPr>
            </a:lvl4pPr>
            <a:lvl5pPr>
              <a:defRPr>
                <a:latin typeface="Arial Black" panose="020B0A04020102020204" pitchFamily="34" charset="0"/>
              </a:defRPr>
            </a:lvl5pPr>
          </a:lstStyle>
          <a:p>
            <a:pPr lvl="0"/>
            <a:r>
              <a:rPr lang="ru-RU" dirty="0" err="1" smtClean="0"/>
              <a:t>Presenter</a:t>
            </a:r>
            <a:r>
              <a:rPr lang="ru-RU" dirty="0" smtClean="0"/>
              <a:t> (12pt), </a:t>
            </a:r>
            <a:r>
              <a:rPr lang="ru-RU" dirty="0" err="1" smtClean="0"/>
              <a:t>City</a:t>
            </a:r>
            <a:r>
              <a:rPr lang="ru-RU" dirty="0" smtClean="0"/>
              <a:t>, </a:t>
            </a:r>
            <a:r>
              <a:rPr lang="ru-RU" dirty="0" err="1" smtClean="0"/>
              <a:t>Month</a:t>
            </a:r>
            <a:r>
              <a:rPr lang="ru-RU" dirty="0" smtClean="0"/>
              <a:t> 2018</a:t>
            </a:r>
            <a:endParaRPr lang="ru-RU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8733" y="6045865"/>
            <a:ext cx="2472000" cy="439292"/>
          </a:xfrm>
          <a:prstGeom prst="rect">
            <a:avLst/>
          </a:prstGeom>
        </p:spPr>
      </p:pic>
      <p:grpSp>
        <p:nvGrpSpPr>
          <p:cNvPr id="10" name="Group 9"/>
          <p:cNvGrpSpPr/>
          <p:nvPr userDrawn="1"/>
        </p:nvGrpSpPr>
        <p:grpSpPr>
          <a:xfrm>
            <a:off x="12293599" y="0"/>
            <a:ext cx="1917700" cy="6858000"/>
            <a:chOff x="9220199" y="0"/>
            <a:chExt cx="1438275" cy="5145088"/>
          </a:xfrm>
        </p:grpSpPr>
        <p:sp>
          <p:nvSpPr>
            <p:cNvPr id="13" name="Rectangle 12"/>
            <p:cNvSpPr/>
            <p:nvPr userDrawn="1"/>
          </p:nvSpPr>
          <p:spPr>
            <a:xfrm>
              <a:off x="9220199" y="0"/>
              <a:ext cx="1438275" cy="514508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>
              <a:noAutofit/>
            </a:bodyPr>
            <a:lstStyle/>
            <a:p>
              <a:pPr algn="ctr" defTabSz="609402"/>
              <a:endParaRPr lang="ru-RU" sz="2399">
                <a:solidFill>
                  <a:srgbClr val="FFFFFF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9278604" y="80549"/>
              <a:ext cx="1321463" cy="34290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>
              <a:noAutofit/>
            </a:bodyPr>
            <a:lstStyle/>
            <a:p>
              <a:pPr algn="ctr" defTabSz="609402"/>
              <a:r>
                <a:rPr lang="en-US" sz="1599" b="1" dirty="0" smtClean="0">
                  <a:solidFill>
                    <a:srgbClr val="000000"/>
                  </a:solidFill>
                </a:rPr>
                <a:t>RGB colors</a:t>
              </a:r>
              <a:endParaRPr lang="ru-RU" sz="1599" b="1" dirty="0">
                <a:solidFill>
                  <a:srgbClr val="000000"/>
                </a:solidFill>
              </a:endParaRPr>
            </a:p>
          </p:txBody>
        </p:sp>
        <p:grpSp>
          <p:nvGrpSpPr>
            <p:cNvPr id="15" name="Group 14"/>
            <p:cNvGrpSpPr/>
            <p:nvPr userDrawn="1"/>
          </p:nvGrpSpPr>
          <p:grpSpPr>
            <a:xfrm>
              <a:off x="9258894" y="635301"/>
              <a:ext cx="1360884" cy="415324"/>
              <a:chOff x="9258894" y="382056"/>
              <a:chExt cx="1360884" cy="415324"/>
            </a:xfrm>
          </p:grpSpPr>
          <p:sp>
            <p:nvSpPr>
              <p:cNvPr id="40" name="Rectangle 39"/>
              <p:cNvSpPr/>
              <p:nvPr userDrawn="1"/>
            </p:nvSpPr>
            <p:spPr>
              <a:xfrm>
                <a:off x="9258894" y="382056"/>
                <a:ext cx="657225" cy="415324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4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8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60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Rectangle 40"/>
              <p:cNvSpPr/>
              <p:nvPr userDrawn="1"/>
            </p:nvSpPr>
            <p:spPr>
              <a:xfrm>
                <a:off x="9962553" y="382056"/>
                <a:ext cx="657225" cy="415324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08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4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13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6" name="Group 15"/>
            <p:cNvGrpSpPr/>
            <p:nvPr userDrawn="1"/>
          </p:nvGrpSpPr>
          <p:grpSpPr>
            <a:xfrm>
              <a:off x="9258894" y="1113435"/>
              <a:ext cx="1360884" cy="415324"/>
              <a:chOff x="9258894" y="842963"/>
              <a:chExt cx="1360884" cy="415324"/>
            </a:xfrm>
          </p:grpSpPr>
          <p:sp>
            <p:nvSpPr>
              <p:cNvPr id="38" name="Rectangle 37"/>
              <p:cNvSpPr/>
              <p:nvPr userDrawn="1"/>
            </p:nvSpPr>
            <p:spPr>
              <a:xfrm>
                <a:off x="9258894" y="842963"/>
                <a:ext cx="657225" cy="41532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11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2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30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" name="Rectangle 38"/>
              <p:cNvSpPr/>
              <p:nvPr userDrawn="1"/>
            </p:nvSpPr>
            <p:spPr>
              <a:xfrm>
                <a:off x="9962553" y="842963"/>
                <a:ext cx="657225" cy="415324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3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19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44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7" name="Group 16"/>
            <p:cNvGrpSpPr/>
            <p:nvPr userDrawn="1"/>
          </p:nvGrpSpPr>
          <p:grpSpPr>
            <a:xfrm>
              <a:off x="9258894" y="1591569"/>
              <a:ext cx="1360884" cy="415324"/>
              <a:chOff x="9258894" y="1303870"/>
              <a:chExt cx="1360884" cy="415324"/>
            </a:xfrm>
          </p:grpSpPr>
          <p:sp>
            <p:nvSpPr>
              <p:cNvPr id="36" name="Rectangle 35"/>
              <p:cNvSpPr/>
              <p:nvPr userDrawn="1"/>
            </p:nvSpPr>
            <p:spPr>
              <a:xfrm>
                <a:off x="9258894" y="1303870"/>
                <a:ext cx="657225" cy="41532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9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21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229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" name="Rectangle 36"/>
              <p:cNvSpPr/>
              <p:nvPr userDrawn="1"/>
            </p:nvSpPr>
            <p:spPr>
              <a:xfrm>
                <a:off x="9962553" y="1303870"/>
                <a:ext cx="657225" cy="415324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2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4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50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8" name="Group 17"/>
            <p:cNvGrpSpPr/>
            <p:nvPr userDrawn="1"/>
          </p:nvGrpSpPr>
          <p:grpSpPr>
            <a:xfrm>
              <a:off x="9258894" y="2069703"/>
              <a:ext cx="1360884" cy="415324"/>
              <a:chOff x="9258894" y="1759330"/>
              <a:chExt cx="1360884" cy="415324"/>
            </a:xfrm>
          </p:grpSpPr>
          <p:sp>
            <p:nvSpPr>
              <p:cNvPr id="34" name="Rectangle 33"/>
              <p:cNvSpPr/>
              <p:nvPr userDrawn="1"/>
            </p:nvSpPr>
            <p:spPr>
              <a:xfrm>
                <a:off x="9258894" y="1759330"/>
                <a:ext cx="657225" cy="415324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68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6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37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" name="Rectangle 34"/>
              <p:cNvSpPr/>
              <p:nvPr userDrawn="1"/>
            </p:nvSpPr>
            <p:spPr>
              <a:xfrm>
                <a:off x="9962553" y="1759330"/>
                <a:ext cx="657225" cy="415324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14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13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35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9" name="Group 18"/>
            <p:cNvGrpSpPr/>
            <p:nvPr userDrawn="1"/>
          </p:nvGrpSpPr>
          <p:grpSpPr>
            <a:xfrm>
              <a:off x="9258894" y="2547837"/>
              <a:ext cx="1360884" cy="415324"/>
              <a:chOff x="9258894" y="2220306"/>
              <a:chExt cx="1360884" cy="415324"/>
            </a:xfrm>
          </p:grpSpPr>
          <p:sp>
            <p:nvSpPr>
              <p:cNvPr id="32" name="Rectangle 31"/>
              <p:cNvSpPr/>
              <p:nvPr userDrawn="1"/>
            </p:nvSpPr>
            <p:spPr>
              <a:xfrm>
                <a:off x="9258894" y="2220306"/>
                <a:ext cx="657225" cy="415324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25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6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23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" name="Rectangle 32"/>
              <p:cNvSpPr/>
              <p:nvPr userDrawn="1"/>
            </p:nvSpPr>
            <p:spPr>
              <a:xfrm>
                <a:off x="9962553" y="2220306"/>
                <a:ext cx="657225" cy="415324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5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3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09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Group 19"/>
            <p:cNvGrpSpPr/>
            <p:nvPr userDrawn="1"/>
          </p:nvGrpSpPr>
          <p:grpSpPr>
            <a:xfrm>
              <a:off x="9258894" y="3025971"/>
              <a:ext cx="1360884" cy="415324"/>
              <a:chOff x="9258894" y="2681282"/>
              <a:chExt cx="1360884" cy="415324"/>
            </a:xfrm>
          </p:grpSpPr>
          <p:sp>
            <p:nvSpPr>
              <p:cNvPr id="30" name="Rectangle 29"/>
              <p:cNvSpPr/>
              <p:nvPr userDrawn="1"/>
            </p:nvSpPr>
            <p:spPr>
              <a:xfrm>
                <a:off x="9258894" y="2681282"/>
                <a:ext cx="657225" cy="415324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23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9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64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" name="Rectangle 30"/>
              <p:cNvSpPr/>
              <p:nvPr userDrawn="1"/>
            </p:nvSpPr>
            <p:spPr>
              <a:xfrm>
                <a:off x="9962553" y="2681282"/>
                <a:ext cx="657225" cy="415324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5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2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17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1" name="Group 20"/>
            <p:cNvGrpSpPr/>
            <p:nvPr userDrawn="1"/>
          </p:nvGrpSpPr>
          <p:grpSpPr>
            <a:xfrm>
              <a:off x="9258894" y="3504105"/>
              <a:ext cx="1360884" cy="415324"/>
              <a:chOff x="9258894" y="3142258"/>
              <a:chExt cx="1360884" cy="415324"/>
            </a:xfrm>
          </p:grpSpPr>
          <p:sp>
            <p:nvSpPr>
              <p:cNvPr id="28" name="Rectangle 27"/>
              <p:cNvSpPr/>
              <p:nvPr userDrawn="1"/>
            </p:nvSpPr>
            <p:spPr>
              <a:xfrm>
                <a:off x="9258894" y="3142258"/>
                <a:ext cx="657225" cy="41532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4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4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42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Rectangle 28"/>
              <p:cNvSpPr/>
              <p:nvPr userDrawn="1"/>
            </p:nvSpPr>
            <p:spPr>
              <a:xfrm>
                <a:off x="9962553" y="3142258"/>
                <a:ext cx="657225" cy="415324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1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1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17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2" name="Group 21"/>
            <p:cNvGrpSpPr/>
            <p:nvPr userDrawn="1"/>
          </p:nvGrpSpPr>
          <p:grpSpPr>
            <a:xfrm>
              <a:off x="9258894" y="3982239"/>
              <a:ext cx="1360884" cy="415324"/>
              <a:chOff x="9258894" y="3603234"/>
              <a:chExt cx="1360884" cy="415324"/>
            </a:xfrm>
          </p:grpSpPr>
          <p:sp>
            <p:nvSpPr>
              <p:cNvPr id="26" name="Rectangle 25"/>
              <p:cNvSpPr/>
              <p:nvPr userDrawn="1"/>
            </p:nvSpPr>
            <p:spPr>
              <a:xfrm>
                <a:off x="9258894" y="3603234"/>
                <a:ext cx="657225" cy="415324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19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19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191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Rectangle 26"/>
              <p:cNvSpPr/>
              <p:nvPr userDrawn="1"/>
            </p:nvSpPr>
            <p:spPr>
              <a:xfrm>
                <a:off x="9962553" y="3603234"/>
                <a:ext cx="657225" cy="415324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166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66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66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3" name="Group 22"/>
            <p:cNvGrpSpPr/>
            <p:nvPr userDrawn="1"/>
          </p:nvGrpSpPr>
          <p:grpSpPr>
            <a:xfrm>
              <a:off x="9258894" y="4460376"/>
              <a:ext cx="1360884" cy="415324"/>
              <a:chOff x="9258894" y="4064210"/>
              <a:chExt cx="1360884" cy="415324"/>
            </a:xfrm>
          </p:grpSpPr>
          <p:sp>
            <p:nvSpPr>
              <p:cNvPr id="24" name="Rectangle 23"/>
              <p:cNvSpPr/>
              <p:nvPr userDrawn="1"/>
            </p:nvSpPr>
            <p:spPr>
              <a:xfrm>
                <a:off x="9258894" y="4064210"/>
                <a:ext cx="657225" cy="415324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12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2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27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" name="Rectangle 24"/>
              <p:cNvSpPr/>
              <p:nvPr userDrawn="1"/>
            </p:nvSpPr>
            <p:spPr>
              <a:xfrm>
                <a:off x="9962553" y="4064210"/>
                <a:ext cx="657225" cy="415324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0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0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00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698846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A8238D33-B69C-498B-8C54-1826A2422A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6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5332">
                <a:latin typeface="+mj-lt"/>
              </a:defRPr>
            </a:lvl1pPr>
          </a:lstStyle>
          <a:p>
            <a:r>
              <a:rPr lang="ru-RU" dirty="0"/>
              <a:t>Agenda (40pt)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467" y="1847281"/>
            <a:ext cx="11419200" cy="3954828"/>
          </a:xfrm>
        </p:spPr>
        <p:txBody>
          <a:bodyPr/>
          <a:lstStyle>
            <a:lvl1pPr marL="457051" marR="0" indent="-457051" algn="l" defTabSz="91410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 sz="2666" baseline="0"/>
            </a:lvl1pPr>
          </a:lstStyle>
          <a:p>
            <a:pPr lvl="0"/>
            <a:r>
              <a:rPr lang="ru-RU" dirty="0"/>
              <a:t>Lorem ipsum Ed ut perspiciatis unde omnis iste na (20pt)</a:t>
            </a:r>
          </a:p>
          <a:p>
            <a:pPr lvl="0"/>
            <a:r>
              <a:rPr lang="ru-RU" dirty="0"/>
              <a:t>Lorem ipsum Ed ut perspiciatis unde omnis iste na</a:t>
            </a:r>
          </a:p>
          <a:p>
            <a:pPr lvl="0"/>
            <a:r>
              <a:rPr lang="ru-RU" dirty="0"/>
              <a:t>Lorem ipsum Ed ut perspiciatis unde omnis iste na</a:t>
            </a:r>
          </a:p>
          <a:p>
            <a:pPr lvl="0"/>
            <a:r>
              <a:rPr lang="ru-RU" dirty="0"/>
              <a:t>Lorem ipsum Ed ut perspiciatis unde omnis iste na</a:t>
            </a:r>
          </a:p>
          <a:p>
            <a:pPr lvl="0"/>
            <a:r>
              <a:rPr lang="ru-RU" dirty="0"/>
              <a:t>Lorem ipsum Ed ut perspiciatis unde omnis iste na</a:t>
            </a:r>
          </a:p>
          <a:p>
            <a:pPr lvl="0"/>
            <a:r>
              <a:rPr lang="ru-RU" dirty="0"/>
              <a:t>Lorem ipsum Ed ut perspiciatis unde omnis iste na</a:t>
            </a:r>
          </a:p>
          <a:p>
            <a:pPr lvl="0"/>
            <a:r>
              <a:rPr lang="ru-RU" dirty="0"/>
              <a:t>Lorem ipsum Ed ut perspiciatis unde omnis iste na</a:t>
            </a:r>
          </a:p>
          <a:p>
            <a:pPr lvl="0"/>
            <a:r>
              <a:rPr lang="ru-RU" dirty="0"/>
              <a:t>Lorem ipsum Ed ut perspiciatis unde omnis iste na</a:t>
            </a:r>
          </a:p>
        </p:txBody>
      </p:sp>
    </p:spTree>
    <p:extLst>
      <p:ext uri="{BB962C8B-B14F-4D97-AF65-F5344CB8AC3E}">
        <p14:creationId xmlns:p14="http://schemas.microsoft.com/office/powerpoint/2010/main" val="2671937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873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8800" y="2543215"/>
            <a:ext cx="11419200" cy="1530589"/>
          </a:xfrm>
        </p:spPr>
        <p:txBody>
          <a:bodyPr/>
          <a:lstStyle>
            <a:lvl1pPr>
              <a:defRPr sz="5332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 err="1" smtClean="0"/>
              <a:t>Headline</a:t>
            </a:r>
            <a:r>
              <a:rPr lang="ru-RU" dirty="0" smtClean="0"/>
              <a:t> </a:t>
            </a:r>
            <a:r>
              <a:rPr lang="ru-RU" dirty="0" err="1" smtClean="0"/>
              <a:t>example</a:t>
            </a:r>
            <a:r>
              <a:rPr lang="ru-RU" dirty="0" smtClean="0"/>
              <a:t>, </a:t>
            </a:r>
            <a:br>
              <a:rPr lang="ru-RU" dirty="0" smtClean="0"/>
            </a:br>
            <a:r>
              <a:rPr lang="ru-RU" dirty="0" err="1" smtClean="0"/>
              <a:t>in</a:t>
            </a:r>
            <a:r>
              <a:rPr lang="ru-RU" dirty="0" smtClean="0"/>
              <a:t> </a:t>
            </a:r>
            <a:r>
              <a:rPr lang="ru-RU" dirty="0" err="1" smtClean="0"/>
              <a:t>two</a:t>
            </a:r>
            <a:r>
              <a:rPr lang="ru-RU" dirty="0" smtClean="0"/>
              <a:t> </a:t>
            </a:r>
            <a:r>
              <a:rPr lang="ru-RU" dirty="0" err="1" smtClean="0"/>
              <a:t>lines</a:t>
            </a:r>
            <a:r>
              <a:rPr lang="ru-RU" dirty="0" smtClean="0"/>
              <a:t>. (40pt)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283272-C96A-4D50-B10F-0206D78EC13A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89467" y="385115"/>
            <a:ext cx="1388533" cy="1768141"/>
          </a:xfrm>
        </p:spPr>
        <p:txBody>
          <a:bodyPr/>
          <a:lstStyle>
            <a:lvl1pPr>
              <a:defRPr sz="15995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#</a:t>
            </a:r>
          </a:p>
        </p:txBody>
      </p:sp>
      <p:grpSp>
        <p:nvGrpSpPr>
          <p:cNvPr id="8" name="Gruppieren 7"/>
          <p:cNvGrpSpPr/>
          <p:nvPr/>
        </p:nvGrpSpPr>
        <p:grpSpPr>
          <a:xfrm>
            <a:off x="11564407" y="6551177"/>
            <a:ext cx="244477" cy="69829"/>
            <a:chOff x="8673305" y="4914900"/>
            <a:chExt cx="183358" cy="52388"/>
          </a:xfrm>
        </p:grpSpPr>
        <p:sp>
          <p:nvSpPr>
            <p:cNvPr id="9" name="Ellipse 8"/>
            <p:cNvSpPr/>
            <p:nvPr userDrawn="1"/>
          </p:nvSpPr>
          <p:spPr>
            <a:xfrm>
              <a:off x="8804275" y="4914900"/>
              <a:ext cx="52388" cy="523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02"/>
              <a:endParaRPr lang="ru-RU" sz="2399" dirty="0">
                <a:solidFill>
                  <a:srgbClr val="FFFFFF"/>
                </a:solidFill>
              </a:endParaRPr>
            </a:p>
          </p:txBody>
        </p:sp>
        <p:sp>
          <p:nvSpPr>
            <p:cNvPr id="10" name="Ellipse 9"/>
            <p:cNvSpPr/>
            <p:nvPr userDrawn="1"/>
          </p:nvSpPr>
          <p:spPr>
            <a:xfrm>
              <a:off x="8738790" y="4914900"/>
              <a:ext cx="52388" cy="523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02"/>
              <a:endParaRPr lang="ru-RU" sz="2399" dirty="0">
                <a:solidFill>
                  <a:srgbClr val="FFFFFF"/>
                </a:solidFill>
              </a:endParaRPr>
            </a:p>
          </p:txBody>
        </p:sp>
        <p:sp>
          <p:nvSpPr>
            <p:cNvPr id="11" name="Ellipse 10"/>
            <p:cNvSpPr/>
            <p:nvPr userDrawn="1"/>
          </p:nvSpPr>
          <p:spPr>
            <a:xfrm>
              <a:off x="8673305" y="4914900"/>
              <a:ext cx="52388" cy="523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02"/>
              <a:endParaRPr lang="ru-RU" sz="2399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2" name="Group 11"/>
          <p:cNvGrpSpPr/>
          <p:nvPr userDrawn="1"/>
        </p:nvGrpSpPr>
        <p:grpSpPr>
          <a:xfrm>
            <a:off x="12293599" y="0"/>
            <a:ext cx="1917700" cy="6858000"/>
            <a:chOff x="9220199" y="0"/>
            <a:chExt cx="1438275" cy="5145088"/>
          </a:xfrm>
        </p:grpSpPr>
        <p:sp>
          <p:nvSpPr>
            <p:cNvPr id="13" name="Rectangle 12"/>
            <p:cNvSpPr/>
            <p:nvPr userDrawn="1"/>
          </p:nvSpPr>
          <p:spPr>
            <a:xfrm>
              <a:off x="9220199" y="0"/>
              <a:ext cx="1438275" cy="514508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>
              <a:noAutofit/>
            </a:bodyPr>
            <a:lstStyle/>
            <a:p>
              <a:pPr algn="ctr" defTabSz="609402"/>
              <a:endParaRPr lang="ru-RU" sz="2399">
                <a:solidFill>
                  <a:srgbClr val="FFFFFF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9278604" y="80549"/>
              <a:ext cx="1321463" cy="34290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>
              <a:noAutofit/>
            </a:bodyPr>
            <a:lstStyle/>
            <a:p>
              <a:pPr algn="ctr" defTabSz="609402"/>
              <a:r>
                <a:rPr lang="en-US" sz="1599" b="1" dirty="0" smtClean="0">
                  <a:solidFill>
                    <a:srgbClr val="000000"/>
                  </a:solidFill>
                </a:rPr>
                <a:t>RGB colors</a:t>
              </a:r>
              <a:endParaRPr lang="ru-RU" sz="1599" b="1" dirty="0">
                <a:solidFill>
                  <a:srgbClr val="000000"/>
                </a:solidFill>
              </a:endParaRPr>
            </a:p>
          </p:txBody>
        </p:sp>
        <p:grpSp>
          <p:nvGrpSpPr>
            <p:cNvPr id="15" name="Group 14"/>
            <p:cNvGrpSpPr/>
            <p:nvPr userDrawn="1"/>
          </p:nvGrpSpPr>
          <p:grpSpPr>
            <a:xfrm>
              <a:off x="9258894" y="635301"/>
              <a:ext cx="1360884" cy="415324"/>
              <a:chOff x="9258894" y="382056"/>
              <a:chExt cx="1360884" cy="415324"/>
            </a:xfrm>
          </p:grpSpPr>
          <p:sp>
            <p:nvSpPr>
              <p:cNvPr id="40" name="Rectangle 39"/>
              <p:cNvSpPr/>
              <p:nvPr userDrawn="1"/>
            </p:nvSpPr>
            <p:spPr>
              <a:xfrm>
                <a:off x="9258894" y="382056"/>
                <a:ext cx="657225" cy="415324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4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8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60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Rectangle 40"/>
              <p:cNvSpPr/>
              <p:nvPr userDrawn="1"/>
            </p:nvSpPr>
            <p:spPr>
              <a:xfrm>
                <a:off x="9962553" y="382056"/>
                <a:ext cx="657225" cy="415324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08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4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13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6" name="Group 15"/>
            <p:cNvGrpSpPr/>
            <p:nvPr userDrawn="1"/>
          </p:nvGrpSpPr>
          <p:grpSpPr>
            <a:xfrm>
              <a:off x="9258894" y="1113435"/>
              <a:ext cx="1360884" cy="415324"/>
              <a:chOff x="9258894" y="842963"/>
              <a:chExt cx="1360884" cy="415324"/>
            </a:xfrm>
          </p:grpSpPr>
          <p:sp>
            <p:nvSpPr>
              <p:cNvPr id="38" name="Rectangle 37"/>
              <p:cNvSpPr/>
              <p:nvPr userDrawn="1"/>
            </p:nvSpPr>
            <p:spPr>
              <a:xfrm>
                <a:off x="9258894" y="842963"/>
                <a:ext cx="657225" cy="41532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11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2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30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" name="Rectangle 38"/>
              <p:cNvSpPr/>
              <p:nvPr userDrawn="1"/>
            </p:nvSpPr>
            <p:spPr>
              <a:xfrm>
                <a:off x="9962553" y="842963"/>
                <a:ext cx="657225" cy="415324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3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19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44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7" name="Group 16"/>
            <p:cNvGrpSpPr/>
            <p:nvPr userDrawn="1"/>
          </p:nvGrpSpPr>
          <p:grpSpPr>
            <a:xfrm>
              <a:off x="9258894" y="1591569"/>
              <a:ext cx="1360884" cy="415324"/>
              <a:chOff x="9258894" y="1303870"/>
              <a:chExt cx="1360884" cy="415324"/>
            </a:xfrm>
          </p:grpSpPr>
          <p:sp>
            <p:nvSpPr>
              <p:cNvPr id="36" name="Rectangle 35"/>
              <p:cNvSpPr/>
              <p:nvPr userDrawn="1"/>
            </p:nvSpPr>
            <p:spPr>
              <a:xfrm>
                <a:off x="9258894" y="1303870"/>
                <a:ext cx="657225" cy="41532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9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21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229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" name="Rectangle 36"/>
              <p:cNvSpPr/>
              <p:nvPr userDrawn="1"/>
            </p:nvSpPr>
            <p:spPr>
              <a:xfrm>
                <a:off x="9962553" y="1303870"/>
                <a:ext cx="657225" cy="415324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2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4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50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8" name="Group 17"/>
            <p:cNvGrpSpPr/>
            <p:nvPr userDrawn="1"/>
          </p:nvGrpSpPr>
          <p:grpSpPr>
            <a:xfrm>
              <a:off x="9258894" y="2069703"/>
              <a:ext cx="1360884" cy="415324"/>
              <a:chOff x="9258894" y="1759330"/>
              <a:chExt cx="1360884" cy="415324"/>
            </a:xfrm>
          </p:grpSpPr>
          <p:sp>
            <p:nvSpPr>
              <p:cNvPr id="34" name="Rectangle 33"/>
              <p:cNvSpPr/>
              <p:nvPr userDrawn="1"/>
            </p:nvSpPr>
            <p:spPr>
              <a:xfrm>
                <a:off x="9258894" y="1759330"/>
                <a:ext cx="657225" cy="415324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68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6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37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" name="Rectangle 34"/>
              <p:cNvSpPr/>
              <p:nvPr userDrawn="1"/>
            </p:nvSpPr>
            <p:spPr>
              <a:xfrm>
                <a:off x="9962553" y="1759330"/>
                <a:ext cx="657225" cy="415324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14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13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35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9" name="Group 18"/>
            <p:cNvGrpSpPr/>
            <p:nvPr userDrawn="1"/>
          </p:nvGrpSpPr>
          <p:grpSpPr>
            <a:xfrm>
              <a:off x="9258894" y="2547837"/>
              <a:ext cx="1360884" cy="415324"/>
              <a:chOff x="9258894" y="2220306"/>
              <a:chExt cx="1360884" cy="415324"/>
            </a:xfrm>
          </p:grpSpPr>
          <p:sp>
            <p:nvSpPr>
              <p:cNvPr id="32" name="Rectangle 31"/>
              <p:cNvSpPr/>
              <p:nvPr userDrawn="1"/>
            </p:nvSpPr>
            <p:spPr>
              <a:xfrm>
                <a:off x="9258894" y="2220306"/>
                <a:ext cx="657225" cy="415324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25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6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23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" name="Rectangle 32"/>
              <p:cNvSpPr/>
              <p:nvPr userDrawn="1"/>
            </p:nvSpPr>
            <p:spPr>
              <a:xfrm>
                <a:off x="9962553" y="2220306"/>
                <a:ext cx="657225" cy="415324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5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3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09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Group 19"/>
            <p:cNvGrpSpPr/>
            <p:nvPr userDrawn="1"/>
          </p:nvGrpSpPr>
          <p:grpSpPr>
            <a:xfrm>
              <a:off x="9258894" y="3025971"/>
              <a:ext cx="1360884" cy="415324"/>
              <a:chOff x="9258894" y="2681282"/>
              <a:chExt cx="1360884" cy="415324"/>
            </a:xfrm>
          </p:grpSpPr>
          <p:sp>
            <p:nvSpPr>
              <p:cNvPr id="30" name="Rectangle 29"/>
              <p:cNvSpPr/>
              <p:nvPr userDrawn="1"/>
            </p:nvSpPr>
            <p:spPr>
              <a:xfrm>
                <a:off x="9258894" y="2681282"/>
                <a:ext cx="657225" cy="415324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23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9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64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" name="Rectangle 30"/>
              <p:cNvSpPr/>
              <p:nvPr userDrawn="1"/>
            </p:nvSpPr>
            <p:spPr>
              <a:xfrm>
                <a:off x="9962553" y="2681282"/>
                <a:ext cx="657225" cy="415324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5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2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17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1" name="Group 20"/>
            <p:cNvGrpSpPr/>
            <p:nvPr userDrawn="1"/>
          </p:nvGrpSpPr>
          <p:grpSpPr>
            <a:xfrm>
              <a:off x="9258894" y="3504105"/>
              <a:ext cx="1360884" cy="415324"/>
              <a:chOff x="9258894" y="3142258"/>
              <a:chExt cx="1360884" cy="415324"/>
            </a:xfrm>
          </p:grpSpPr>
          <p:sp>
            <p:nvSpPr>
              <p:cNvPr id="28" name="Rectangle 27"/>
              <p:cNvSpPr/>
              <p:nvPr userDrawn="1"/>
            </p:nvSpPr>
            <p:spPr>
              <a:xfrm>
                <a:off x="9258894" y="3142258"/>
                <a:ext cx="657225" cy="41532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4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4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42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Rectangle 28"/>
              <p:cNvSpPr/>
              <p:nvPr userDrawn="1"/>
            </p:nvSpPr>
            <p:spPr>
              <a:xfrm>
                <a:off x="9962553" y="3142258"/>
                <a:ext cx="657225" cy="415324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1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1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17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2" name="Group 21"/>
            <p:cNvGrpSpPr/>
            <p:nvPr userDrawn="1"/>
          </p:nvGrpSpPr>
          <p:grpSpPr>
            <a:xfrm>
              <a:off x="9258894" y="3982239"/>
              <a:ext cx="1360884" cy="415324"/>
              <a:chOff x="9258894" y="3603234"/>
              <a:chExt cx="1360884" cy="415324"/>
            </a:xfrm>
          </p:grpSpPr>
          <p:sp>
            <p:nvSpPr>
              <p:cNvPr id="26" name="Rectangle 25"/>
              <p:cNvSpPr/>
              <p:nvPr userDrawn="1"/>
            </p:nvSpPr>
            <p:spPr>
              <a:xfrm>
                <a:off x="9258894" y="3603234"/>
                <a:ext cx="657225" cy="415324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19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19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191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Rectangle 26"/>
              <p:cNvSpPr/>
              <p:nvPr userDrawn="1"/>
            </p:nvSpPr>
            <p:spPr>
              <a:xfrm>
                <a:off x="9962553" y="3603234"/>
                <a:ext cx="657225" cy="415324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166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66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66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3" name="Group 22"/>
            <p:cNvGrpSpPr/>
            <p:nvPr userDrawn="1"/>
          </p:nvGrpSpPr>
          <p:grpSpPr>
            <a:xfrm>
              <a:off x="9258894" y="4460376"/>
              <a:ext cx="1360884" cy="415324"/>
              <a:chOff x="9258894" y="4064210"/>
              <a:chExt cx="1360884" cy="415324"/>
            </a:xfrm>
          </p:grpSpPr>
          <p:sp>
            <p:nvSpPr>
              <p:cNvPr id="24" name="Rectangle 23"/>
              <p:cNvSpPr/>
              <p:nvPr userDrawn="1"/>
            </p:nvSpPr>
            <p:spPr>
              <a:xfrm>
                <a:off x="9258894" y="4064210"/>
                <a:ext cx="657225" cy="415324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12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2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27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" name="Rectangle 24"/>
              <p:cNvSpPr/>
              <p:nvPr userDrawn="1"/>
            </p:nvSpPr>
            <p:spPr>
              <a:xfrm>
                <a:off x="9962553" y="4064210"/>
                <a:ext cx="657225" cy="415324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0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0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00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42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711200" y="6379782"/>
            <a:ext cx="8026400" cy="2382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>
                <a:solidFill>
                  <a:srgbClr val="FFFFFF"/>
                </a:solidFill>
              </a:rPr>
              <a:t>Источник:</a:t>
            </a: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6074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green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8800" y="2543215"/>
            <a:ext cx="11419200" cy="1530589"/>
          </a:xfrm>
        </p:spPr>
        <p:txBody>
          <a:bodyPr/>
          <a:lstStyle>
            <a:lvl1pPr>
              <a:defRPr sz="5332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ru-RU" dirty="0"/>
              <a:t>Headline example, </a:t>
            </a:r>
            <a:br>
              <a:rPr lang="ru-RU" dirty="0"/>
            </a:br>
            <a:r>
              <a:rPr lang="ru-RU" dirty="0"/>
              <a:t>in two lines. (40pt)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E283272-C96A-4D50-B10F-0206D78EC13A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89467" y="385115"/>
            <a:ext cx="1388533" cy="1768141"/>
          </a:xfrm>
        </p:spPr>
        <p:txBody>
          <a:bodyPr/>
          <a:lstStyle>
            <a:lvl1pPr>
              <a:defRPr sz="15995" b="1">
                <a:latin typeface="+mj-lt"/>
              </a:defRPr>
            </a:lvl1pPr>
          </a:lstStyle>
          <a:p>
            <a:pPr lvl="0"/>
            <a:r>
              <a:rPr lang="ru-RU" dirty="0"/>
              <a:t>#</a:t>
            </a:r>
          </a:p>
        </p:txBody>
      </p:sp>
      <p:grpSp>
        <p:nvGrpSpPr>
          <p:cNvPr id="12" name="Gruppieren 11"/>
          <p:cNvGrpSpPr/>
          <p:nvPr/>
        </p:nvGrpSpPr>
        <p:grpSpPr>
          <a:xfrm>
            <a:off x="11564407" y="6551177"/>
            <a:ext cx="244477" cy="69829"/>
            <a:chOff x="8673305" y="4914900"/>
            <a:chExt cx="183358" cy="52388"/>
          </a:xfrm>
        </p:grpSpPr>
        <p:sp>
          <p:nvSpPr>
            <p:cNvPr id="13" name="Ellipse 12"/>
            <p:cNvSpPr/>
            <p:nvPr userDrawn="1"/>
          </p:nvSpPr>
          <p:spPr>
            <a:xfrm>
              <a:off x="8804275" y="4914900"/>
              <a:ext cx="52388" cy="523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02"/>
              <a:endParaRPr lang="ru-RU" sz="2399" dirty="0">
                <a:solidFill>
                  <a:srgbClr val="FFFFFF"/>
                </a:solidFill>
              </a:endParaRPr>
            </a:p>
          </p:txBody>
        </p:sp>
        <p:sp>
          <p:nvSpPr>
            <p:cNvPr id="14" name="Ellipse 13"/>
            <p:cNvSpPr/>
            <p:nvPr userDrawn="1"/>
          </p:nvSpPr>
          <p:spPr>
            <a:xfrm>
              <a:off x="8738790" y="4914900"/>
              <a:ext cx="52388" cy="5238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02"/>
              <a:endParaRPr lang="ru-RU" sz="2399" dirty="0">
                <a:solidFill>
                  <a:srgbClr val="FFFFFF"/>
                </a:solidFill>
              </a:endParaRPr>
            </a:p>
          </p:txBody>
        </p:sp>
        <p:sp>
          <p:nvSpPr>
            <p:cNvPr id="15" name="Ellipse 14"/>
            <p:cNvSpPr/>
            <p:nvPr userDrawn="1"/>
          </p:nvSpPr>
          <p:spPr>
            <a:xfrm>
              <a:off x="8673305" y="4914900"/>
              <a:ext cx="52388" cy="523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02"/>
              <a:endParaRPr lang="ru-RU" sz="2399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1" name="Group 10"/>
          <p:cNvGrpSpPr/>
          <p:nvPr userDrawn="1"/>
        </p:nvGrpSpPr>
        <p:grpSpPr>
          <a:xfrm>
            <a:off x="12293599" y="0"/>
            <a:ext cx="1917700" cy="6858000"/>
            <a:chOff x="9220199" y="0"/>
            <a:chExt cx="1438275" cy="5145088"/>
          </a:xfrm>
        </p:grpSpPr>
        <p:sp>
          <p:nvSpPr>
            <p:cNvPr id="16" name="Rectangle 15"/>
            <p:cNvSpPr/>
            <p:nvPr userDrawn="1"/>
          </p:nvSpPr>
          <p:spPr>
            <a:xfrm>
              <a:off x="9220199" y="0"/>
              <a:ext cx="1438275" cy="514508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>
              <a:noAutofit/>
            </a:bodyPr>
            <a:lstStyle/>
            <a:p>
              <a:pPr algn="ctr" defTabSz="609402"/>
              <a:endParaRPr lang="ru-RU" sz="2399">
                <a:solidFill>
                  <a:srgbClr val="FFFFFF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9278604" y="80549"/>
              <a:ext cx="1321463" cy="34290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>
              <a:noAutofit/>
            </a:bodyPr>
            <a:lstStyle/>
            <a:p>
              <a:pPr algn="ctr" defTabSz="609402"/>
              <a:r>
                <a:rPr lang="en-US" sz="1599" b="1" dirty="0" smtClean="0">
                  <a:solidFill>
                    <a:srgbClr val="000000"/>
                  </a:solidFill>
                </a:rPr>
                <a:t>RGB colors</a:t>
              </a:r>
              <a:endParaRPr lang="ru-RU" sz="1599" b="1" dirty="0">
                <a:solidFill>
                  <a:srgbClr val="000000"/>
                </a:solidFill>
              </a:endParaRPr>
            </a:p>
          </p:txBody>
        </p:sp>
        <p:grpSp>
          <p:nvGrpSpPr>
            <p:cNvPr id="18" name="Group 17"/>
            <p:cNvGrpSpPr/>
            <p:nvPr userDrawn="1"/>
          </p:nvGrpSpPr>
          <p:grpSpPr>
            <a:xfrm>
              <a:off x="9258894" y="635301"/>
              <a:ext cx="1360884" cy="415324"/>
              <a:chOff x="9258894" y="382056"/>
              <a:chExt cx="1360884" cy="415324"/>
            </a:xfrm>
          </p:grpSpPr>
          <p:sp>
            <p:nvSpPr>
              <p:cNvPr id="43" name="Rectangle 42"/>
              <p:cNvSpPr/>
              <p:nvPr userDrawn="1"/>
            </p:nvSpPr>
            <p:spPr>
              <a:xfrm>
                <a:off x="9258894" y="382056"/>
                <a:ext cx="657225" cy="415324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4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8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60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Rectangle 43"/>
              <p:cNvSpPr/>
              <p:nvPr userDrawn="1"/>
            </p:nvSpPr>
            <p:spPr>
              <a:xfrm>
                <a:off x="9962553" y="382056"/>
                <a:ext cx="657225" cy="415324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08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4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13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9" name="Group 18"/>
            <p:cNvGrpSpPr/>
            <p:nvPr userDrawn="1"/>
          </p:nvGrpSpPr>
          <p:grpSpPr>
            <a:xfrm>
              <a:off x="9258894" y="1113435"/>
              <a:ext cx="1360884" cy="415324"/>
              <a:chOff x="9258894" y="842963"/>
              <a:chExt cx="1360884" cy="415324"/>
            </a:xfrm>
          </p:grpSpPr>
          <p:sp>
            <p:nvSpPr>
              <p:cNvPr id="41" name="Rectangle 40"/>
              <p:cNvSpPr/>
              <p:nvPr userDrawn="1"/>
            </p:nvSpPr>
            <p:spPr>
              <a:xfrm>
                <a:off x="9258894" y="842963"/>
                <a:ext cx="657225" cy="41532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11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2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30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Rectangle 41"/>
              <p:cNvSpPr/>
              <p:nvPr userDrawn="1"/>
            </p:nvSpPr>
            <p:spPr>
              <a:xfrm>
                <a:off x="9962553" y="842963"/>
                <a:ext cx="657225" cy="415324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3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19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44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Group 19"/>
            <p:cNvGrpSpPr/>
            <p:nvPr userDrawn="1"/>
          </p:nvGrpSpPr>
          <p:grpSpPr>
            <a:xfrm>
              <a:off x="9258894" y="1591569"/>
              <a:ext cx="1360884" cy="415324"/>
              <a:chOff x="9258894" y="1303870"/>
              <a:chExt cx="1360884" cy="415324"/>
            </a:xfrm>
          </p:grpSpPr>
          <p:sp>
            <p:nvSpPr>
              <p:cNvPr id="39" name="Rectangle 38"/>
              <p:cNvSpPr/>
              <p:nvPr userDrawn="1"/>
            </p:nvSpPr>
            <p:spPr>
              <a:xfrm>
                <a:off x="9258894" y="1303870"/>
                <a:ext cx="657225" cy="41532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9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21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229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0" name="Rectangle 39"/>
              <p:cNvSpPr/>
              <p:nvPr userDrawn="1"/>
            </p:nvSpPr>
            <p:spPr>
              <a:xfrm>
                <a:off x="9962553" y="1303870"/>
                <a:ext cx="657225" cy="415324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2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4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50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1" name="Group 20"/>
            <p:cNvGrpSpPr/>
            <p:nvPr userDrawn="1"/>
          </p:nvGrpSpPr>
          <p:grpSpPr>
            <a:xfrm>
              <a:off x="9258894" y="2069703"/>
              <a:ext cx="1360884" cy="415324"/>
              <a:chOff x="9258894" y="1759330"/>
              <a:chExt cx="1360884" cy="415324"/>
            </a:xfrm>
          </p:grpSpPr>
          <p:sp>
            <p:nvSpPr>
              <p:cNvPr id="37" name="Rectangle 36"/>
              <p:cNvSpPr/>
              <p:nvPr userDrawn="1"/>
            </p:nvSpPr>
            <p:spPr>
              <a:xfrm>
                <a:off x="9258894" y="1759330"/>
                <a:ext cx="657225" cy="415324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68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6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37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" name="Rectangle 37"/>
              <p:cNvSpPr/>
              <p:nvPr userDrawn="1"/>
            </p:nvSpPr>
            <p:spPr>
              <a:xfrm>
                <a:off x="9962553" y="1759330"/>
                <a:ext cx="657225" cy="415324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14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13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35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2" name="Group 21"/>
            <p:cNvGrpSpPr/>
            <p:nvPr userDrawn="1"/>
          </p:nvGrpSpPr>
          <p:grpSpPr>
            <a:xfrm>
              <a:off x="9258894" y="2547837"/>
              <a:ext cx="1360884" cy="415324"/>
              <a:chOff x="9258894" y="2220306"/>
              <a:chExt cx="1360884" cy="415324"/>
            </a:xfrm>
          </p:grpSpPr>
          <p:sp>
            <p:nvSpPr>
              <p:cNvPr id="35" name="Rectangle 34"/>
              <p:cNvSpPr/>
              <p:nvPr userDrawn="1"/>
            </p:nvSpPr>
            <p:spPr>
              <a:xfrm>
                <a:off x="9258894" y="2220306"/>
                <a:ext cx="657225" cy="415324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25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6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23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" name="Rectangle 35"/>
              <p:cNvSpPr/>
              <p:nvPr userDrawn="1"/>
            </p:nvSpPr>
            <p:spPr>
              <a:xfrm>
                <a:off x="9962553" y="2220306"/>
                <a:ext cx="657225" cy="415324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5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3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09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3" name="Group 22"/>
            <p:cNvGrpSpPr/>
            <p:nvPr userDrawn="1"/>
          </p:nvGrpSpPr>
          <p:grpSpPr>
            <a:xfrm>
              <a:off x="9258894" y="3025971"/>
              <a:ext cx="1360884" cy="415324"/>
              <a:chOff x="9258894" y="2681282"/>
              <a:chExt cx="1360884" cy="415324"/>
            </a:xfrm>
          </p:grpSpPr>
          <p:sp>
            <p:nvSpPr>
              <p:cNvPr id="33" name="Rectangle 32"/>
              <p:cNvSpPr/>
              <p:nvPr userDrawn="1"/>
            </p:nvSpPr>
            <p:spPr>
              <a:xfrm>
                <a:off x="9258894" y="2681282"/>
                <a:ext cx="657225" cy="415324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23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9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64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" name="Rectangle 33"/>
              <p:cNvSpPr/>
              <p:nvPr userDrawn="1"/>
            </p:nvSpPr>
            <p:spPr>
              <a:xfrm>
                <a:off x="9962553" y="2681282"/>
                <a:ext cx="657225" cy="415324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5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2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17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4" name="Group 23"/>
            <p:cNvGrpSpPr/>
            <p:nvPr userDrawn="1"/>
          </p:nvGrpSpPr>
          <p:grpSpPr>
            <a:xfrm>
              <a:off x="9258894" y="3504105"/>
              <a:ext cx="1360884" cy="415324"/>
              <a:chOff x="9258894" y="3142258"/>
              <a:chExt cx="1360884" cy="415324"/>
            </a:xfrm>
          </p:grpSpPr>
          <p:sp>
            <p:nvSpPr>
              <p:cNvPr id="31" name="Rectangle 30"/>
              <p:cNvSpPr/>
              <p:nvPr userDrawn="1"/>
            </p:nvSpPr>
            <p:spPr>
              <a:xfrm>
                <a:off x="9258894" y="3142258"/>
                <a:ext cx="657225" cy="41532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4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4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42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tangle 31"/>
              <p:cNvSpPr/>
              <p:nvPr userDrawn="1"/>
            </p:nvSpPr>
            <p:spPr>
              <a:xfrm>
                <a:off x="9962553" y="3142258"/>
                <a:ext cx="657225" cy="415324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1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1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17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5" name="Group 24"/>
            <p:cNvGrpSpPr/>
            <p:nvPr userDrawn="1"/>
          </p:nvGrpSpPr>
          <p:grpSpPr>
            <a:xfrm>
              <a:off x="9258894" y="3982239"/>
              <a:ext cx="1360884" cy="415324"/>
              <a:chOff x="9258894" y="3603234"/>
              <a:chExt cx="1360884" cy="415324"/>
            </a:xfrm>
          </p:grpSpPr>
          <p:sp>
            <p:nvSpPr>
              <p:cNvPr id="29" name="Rectangle 28"/>
              <p:cNvSpPr/>
              <p:nvPr userDrawn="1"/>
            </p:nvSpPr>
            <p:spPr>
              <a:xfrm>
                <a:off x="9258894" y="3603234"/>
                <a:ext cx="657225" cy="415324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19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19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191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Rectangle 29"/>
              <p:cNvSpPr/>
              <p:nvPr userDrawn="1"/>
            </p:nvSpPr>
            <p:spPr>
              <a:xfrm>
                <a:off x="9962553" y="3603234"/>
                <a:ext cx="657225" cy="415324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166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66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66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6" name="Group 25"/>
            <p:cNvGrpSpPr/>
            <p:nvPr userDrawn="1"/>
          </p:nvGrpSpPr>
          <p:grpSpPr>
            <a:xfrm>
              <a:off x="9258894" y="4460376"/>
              <a:ext cx="1360884" cy="415324"/>
              <a:chOff x="9258894" y="4064210"/>
              <a:chExt cx="1360884" cy="415324"/>
            </a:xfrm>
          </p:grpSpPr>
          <p:sp>
            <p:nvSpPr>
              <p:cNvPr id="27" name="Rectangle 26"/>
              <p:cNvSpPr/>
              <p:nvPr userDrawn="1"/>
            </p:nvSpPr>
            <p:spPr>
              <a:xfrm>
                <a:off x="9258894" y="4064210"/>
                <a:ext cx="657225" cy="415324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12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2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27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" name="Rectangle 27"/>
              <p:cNvSpPr/>
              <p:nvPr userDrawn="1"/>
            </p:nvSpPr>
            <p:spPr>
              <a:xfrm>
                <a:off x="9962553" y="4064210"/>
                <a:ext cx="657225" cy="415324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0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0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00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45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711200" y="6379782"/>
            <a:ext cx="8026400" cy="238293"/>
          </a:xfrm>
        </p:spPr>
        <p:txBody>
          <a:bodyPr/>
          <a:lstStyle/>
          <a:p>
            <a:r>
              <a:rPr lang="ru-RU" smtClean="0">
                <a:solidFill>
                  <a:srgbClr val="000000"/>
                </a:solidFill>
              </a:rPr>
              <a:t>Источник:</a:t>
            </a:r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3929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viole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8800" y="2543215"/>
            <a:ext cx="11419200" cy="1530589"/>
          </a:xfrm>
        </p:spPr>
        <p:txBody>
          <a:bodyPr/>
          <a:lstStyle>
            <a:lvl1pPr>
              <a:defRPr sz="5332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Headline example, </a:t>
            </a:r>
            <a:br>
              <a:rPr lang="ru-RU" dirty="0"/>
            </a:br>
            <a:r>
              <a:rPr lang="ru-RU" dirty="0"/>
              <a:t>in two lines. (40pt)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283272-C96A-4D50-B10F-0206D78EC13A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89467" y="385115"/>
            <a:ext cx="1388533" cy="1768141"/>
          </a:xfrm>
        </p:spPr>
        <p:txBody>
          <a:bodyPr/>
          <a:lstStyle>
            <a:lvl1pPr>
              <a:defRPr sz="15995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#</a:t>
            </a:r>
          </a:p>
        </p:txBody>
      </p:sp>
      <p:grpSp>
        <p:nvGrpSpPr>
          <p:cNvPr id="8" name="Gruppieren 7"/>
          <p:cNvGrpSpPr/>
          <p:nvPr/>
        </p:nvGrpSpPr>
        <p:grpSpPr>
          <a:xfrm>
            <a:off x="11564407" y="6551177"/>
            <a:ext cx="244477" cy="69829"/>
            <a:chOff x="8673305" y="4914900"/>
            <a:chExt cx="183358" cy="52388"/>
          </a:xfrm>
        </p:grpSpPr>
        <p:sp>
          <p:nvSpPr>
            <p:cNvPr id="9" name="Ellipse 8"/>
            <p:cNvSpPr/>
            <p:nvPr userDrawn="1"/>
          </p:nvSpPr>
          <p:spPr>
            <a:xfrm>
              <a:off x="8804275" y="4914900"/>
              <a:ext cx="52388" cy="523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02"/>
              <a:endParaRPr lang="ru-RU" sz="2399" dirty="0">
                <a:solidFill>
                  <a:srgbClr val="FFFFFF"/>
                </a:solidFill>
              </a:endParaRPr>
            </a:p>
          </p:txBody>
        </p:sp>
        <p:sp>
          <p:nvSpPr>
            <p:cNvPr id="10" name="Ellipse 9"/>
            <p:cNvSpPr/>
            <p:nvPr userDrawn="1"/>
          </p:nvSpPr>
          <p:spPr>
            <a:xfrm>
              <a:off x="8738790" y="4914900"/>
              <a:ext cx="52388" cy="523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02"/>
              <a:endParaRPr lang="ru-RU" sz="2399" dirty="0">
                <a:solidFill>
                  <a:srgbClr val="FFFFFF"/>
                </a:solidFill>
              </a:endParaRPr>
            </a:p>
          </p:txBody>
        </p:sp>
        <p:sp>
          <p:nvSpPr>
            <p:cNvPr id="11" name="Ellipse 10"/>
            <p:cNvSpPr/>
            <p:nvPr userDrawn="1"/>
          </p:nvSpPr>
          <p:spPr>
            <a:xfrm>
              <a:off x="8673305" y="4914900"/>
              <a:ext cx="52388" cy="523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02"/>
              <a:endParaRPr lang="ru-RU" sz="2399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2" name="Group 11"/>
          <p:cNvGrpSpPr/>
          <p:nvPr userDrawn="1"/>
        </p:nvGrpSpPr>
        <p:grpSpPr>
          <a:xfrm>
            <a:off x="12293599" y="0"/>
            <a:ext cx="1917700" cy="6858000"/>
            <a:chOff x="9220199" y="0"/>
            <a:chExt cx="1438275" cy="5145088"/>
          </a:xfrm>
        </p:grpSpPr>
        <p:sp>
          <p:nvSpPr>
            <p:cNvPr id="13" name="Rectangle 12"/>
            <p:cNvSpPr/>
            <p:nvPr userDrawn="1"/>
          </p:nvSpPr>
          <p:spPr>
            <a:xfrm>
              <a:off x="9220199" y="0"/>
              <a:ext cx="1438275" cy="514508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>
              <a:noAutofit/>
            </a:bodyPr>
            <a:lstStyle/>
            <a:p>
              <a:pPr algn="ctr" defTabSz="609402"/>
              <a:endParaRPr lang="ru-RU" sz="2399">
                <a:solidFill>
                  <a:srgbClr val="FFFFFF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9278604" y="80549"/>
              <a:ext cx="1321463" cy="34290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>
              <a:noAutofit/>
            </a:bodyPr>
            <a:lstStyle/>
            <a:p>
              <a:pPr algn="ctr" defTabSz="609402"/>
              <a:r>
                <a:rPr lang="en-US" sz="1599" b="1" dirty="0" smtClean="0">
                  <a:solidFill>
                    <a:srgbClr val="000000"/>
                  </a:solidFill>
                </a:rPr>
                <a:t>RGB colors</a:t>
              </a:r>
              <a:endParaRPr lang="ru-RU" sz="1599" b="1" dirty="0">
                <a:solidFill>
                  <a:srgbClr val="000000"/>
                </a:solidFill>
              </a:endParaRPr>
            </a:p>
          </p:txBody>
        </p:sp>
        <p:grpSp>
          <p:nvGrpSpPr>
            <p:cNvPr id="15" name="Group 14"/>
            <p:cNvGrpSpPr/>
            <p:nvPr userDrawn="1"/>
          </p:nvGrpSpPr>
          <p:grpSpPr>
            <a:xfrm>
              <a:off x="9258894" y="635301"/>
              <a:ext cx="1360884" cy="415324"/>
              <a:chOff x="9258894" y="382056"/>
              <a:chExt cx="1360884" cy="415324"/>
            </a:xfrm>
          </p:grpSpPr>
          <p:sp>
            <p:nvSpPr>
              <p:cNvPr id="40" name="Rectangle 39"/>
              <p:cNvSpPr/>
              <p:nvPr userDrawn="1"/>
            </p:nvSpPr>
            <p:spPr>
              <a:xfrm>
                <a:off x="9258894" y="382056"/>
                <a:ext cx="657225" cy="415324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4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8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60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Rectangle 40"/>
              <p:cNvSpPr/>
              <p:nvPr userDrawn="1"/>
            </p:nvSpPr>
            <p:spPr>
              <a:xfrm>
                <a:off x="9962553" y="382056"/>
                <a:ext cx="657225" cy="415324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08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4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13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6" name="Group 15"/>
            <p:cNvGrpSpPr/>
            <p:nvPr userDrawn="1"/>
          </p:nvGrpSpPr>
          <p:grpSpPr>
            <a:xfrm>
              <a:off x="9258894" y="1113435"/>
              <a:ext cx="1360884" cy="415324"/>
              <a:chOff x="9258894" y="842963"/>
              <a:chExt cx="1360884" cy="415324"/>
            </a:xfrm>
          </p:grpSpPr>
          <p:sp>
            <p:nvSpPr>
              <p:cNvPr id="38" name="Rectangle 37"/>
              <p:cNvSpPr/>
              <p:nvPr userDrawn="1"/>
            </p:nvSpPr>
            <p:spPr>
              <a:xfrm>
                <a:off x="9258894" y="842963"/>
                <a:ext cx="657225" cy="41532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11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2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30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" name="Rectangle 38"/>
              <p:cNvSpPr/>
              <p:nvPr userDrawn="1"/>
            </p:nvSpPr>
            <p:spPr>
              <a:xfrm>
                <a:off x="9962553" y="842963"/>
                <a:ext cx="657225" cy="415324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3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19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44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7" name="Group 16"/>
            <p:cNvGrpSpPr/>
            <p:nvPr userDrawn="1"/>
          </p:nvGrpSpPr>
          <p:grpSpPr>
            <a:xfrm>
              <a:off x="9258894" y="1591569"/>
              <a:ext cx="1360884" cy="415324"/>
              <a:chOff x="9258894" y="1303870"/>
              <a:chExt cx="1360884" cy="415324"/>
            </a:xfrm>
          </p:grpSpPr>
          <p:sp>
            <p:nvSpPr>
              <p:cNvPr id="36" name="Rectangle 35"/>
              <p:cNvSpPr/>
              <p:nvPr userDrawn="1"/>
            </p:nvSpPr>
            <p:spPr>
              <a:xfrm>
                <a:off x="9258894" y="1303870"/>
                <a:ext cx="657225" cy="41532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9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21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229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" name="Rectangle 36"/>
              <p:cNvSpPr/>
              <p:nvPr userDrawn="1"/>
            </p:nvSpPr>
            <p:spPr>
              <a:xfrm>
                <a:off x="9962553" y="1303870"/>
                <a:ext cx="657225" cy="415324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2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4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50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8" name="Group 17"/>
            <p:cNvGrpSpPr/>
            <p:nvPr userDrawn="1"/>
          </p:nvGrpSpPr>
          <p:grpSpPr>
            <a:xfrm>
              <a:off x="9258894" y="2069703"/>
              <a:ext cx="1360884" cy="415324"/>
              <a:chOff x="9258894" y="1759330"/>
              <a:chExt cx="1360884" cy="415324"/>
            </a:xfrm>
          </p:grpSpPr>
          <p:sp>
            <p:nvSpPr>
              <p:cNvPr id="34" name="Rectangle 33"/>
              <p:cNvSpPr/>
              <p:nvPr userDrawn="1"/>
            </p:nvSpPr>
            <p:spPr>
              <a:xfrm>
                <a:off x="9258894" y="1759330"/>
                <a:ext cx="657225" cy="415324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68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6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37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" name="Rectangle 34"/>
              <p:cNvSpPr/>
              <p:nvPr userDrawn="1"/>
            </p:nvSpPr>
            <p:spPr>
              <a:xfrm>
                <a:off x="9962553" y="1759330"/>
                <a:ext cx="657225" cy="415324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14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13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35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9" name="Group 18"/>
            <p:cNvGrpSpPr/>
            <p:nvPr userDrawn="1"/>
          </p:nvGrpSpPr>
          <p:grpSpPr>
            <a:xfrm>
              <a:off x="9258894" y="2547837"/>
              <a:ext cx="1360884" cy="415324"/>
              <a:chOff x="9258894" y="2220306"/>
              <a:chExt cx="1360884" cy="415324"/>
            </a:xfrm>
          </p:grpSpPr>
          <p:sp>
            <p:nvSpPr>
              <p:cNvPr id="32" name="Rectangle 31"/>
              <p:cNvSpPr/>
              <p:nvPr userDrawn="1"/>
            </p:nvSpPr>
            <p:spPr>
              <a:xfrm>
                <a:off x="9258894" y="2220306"/>
                <a:ext cx="657225" cy="415324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25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6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23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" name="Rectangle 32"/>
              <p:cNvSpPr/>
              <p:nvPr userDrawn="1"/>
            </p:nvSpPr>
            <p:spPr>
              <a:xfrm>
                <a:off x="9962553" y="2220306"/>
                <a:ext cx="657225" cy="415324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5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3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09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Group 19"/>
            <p:cNvGrpSpPr/>
            <p:nvPr userDrawn="1"/>
          </p:nvGrpSpPr>
          <p:grpSpPr>
            <a:xfrm>
              <a:off x="9258894" y="3025971"/>
              <a:ext cx="1360884" cy="415324"/>
              <a:chOff x="9258894" y="2681282"/>
              <a:chExt cx="1360884" cy="415324"/>
            </a:xfrm>
          </p:grpSpPr>
          <p:sp>
            <p:nvSpPr>
              <p:cNvPr id="30" name="Rectangle 29"/>
              <p:cNvSpPr/>
              <p:nvPr userDrawn="1"/>
            </p:nvSpPr>
            <p:spPr>
              <a:xfrm>
                <a:off x="9258894" y="2681282"/>
                <a:ext cx="657225" cy="415324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23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9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64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" name="Rectangle 30"/>
              <p:cNvSpPr/>
              <p:nvPr userDrawn="1"/>
            </p:nvSpPr>
            <p:spPr>
              <a:xfrm>
                <a:off x="9962553" y="2681282"/>
                <a:ext cx="657225" cy="415324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5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2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17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1" name="Group 20"/>
            <p:cNvGrpSpPr/>
            <p:nvPr userDrawn="1"/>
          </p:nvGrpSpPr>
          <p:grpSpPr>
            <a:xfrm>
              <a:off x="9258894" y="3504105"/>
              <a:ext cx="1360884" cy="415324"/>
              <a:chOff x="9258894" y="3142258"/>
              <a:chExt cx="1360884" cy="415324"/>
            </a:xfrm>
          </p:grpSpPr>
          <p:sp>
            <p:nvSpPr>
              <p:cNvPr id="28" name="Rectangle 27"/>
              <p:cNvSpPr/>
              <p:nvPr userDrawn="1"/>
            </p:nvSpPr>
            <p:spPr>
              <a:xfrm>
                <a:off x="9258894" y="3142258"/>
                <a:ext cx="657225" cy="41532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4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4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42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Rectangle 28"/>
              <p:cNvSpPr/>
              <p:nvPr userDrawn="1"/>
            </p:nvSpPr>
            <p:spPr>
              <a:xfrm>
                <a:off x="9962553" y="3142258"/>
                <a:ext cx="657225" cy="415324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1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1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17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2" name="Group 21"/>
            <p:cNvGrpSpPr/>
            <p:nvPr userDrawn="1"/>
          </p:nvGrpSpPr>
          <p:grpSpPr>
            <a:xfrm>
              <a:off x="9258894" y="3982239"/>
              <a:ext cx="1360884" cy="415324"/>
              <a:chOff x="9258894" y="3603234"/>
              <a:chExt cx="1360884" cy="415324"/>
            </a:xfrm>
          </p:grpSpPr>
          <p:sp>
            <p:nvSpPr>
              <p:cNvPr id="26" name="Rectangle 25"/>
              <p:cNvSpPr/>
              <p:nvPr userDrawn="1"/>
            </p:nvSpPr>
            <p:spPr>
              <a:xfrm>
                <a:off x="9258894" y="3603234"/>
                <a:ext cx="657225" cy="415324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19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19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191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Rectangle 26"/>
              <p:cNvSpPr/>
              <p:nvPr userDrawn="1"/>
            </p:nvSpPr>
            <p:spPr>
              <a:xfrm>
                <a:off x="9962553" y="3603234"/>
                <a:ext cx="657225" cy="415324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166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66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66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3" name="Group 22"/>
            <p:cNvGrpSpPr/>
            <p:nvPr userDrawn="1"/>
          </p:nvGrpSpPr>
          <p:grpSpPr>
            <a:xfrm>
              <a:off x="9258894" y="4460376"/>
              <a:ext cx="1360884" cy="415324"/>
              <a:chOff x="9258894" y="4064210"/>
              <a:chExt cx="1360884" cy="415324"/>
            </a:xfrm>
          </p:grpSpPr>
          <p:sp>
            <p:nvSpPr>
              <p:cNvPr id="24" name="Rectangle 23"/>
              <p:cNvSpPr/>
              <p:nvPr userDrawn="1"/>
            </p:nvSpPr>
            <p:spPr>
              <a:xfrm>
                <a:off x="9258894" y="4064210"/>
                <a:ext cx="657225" cy="415324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12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2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27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" name="Rectangle 24"/>
              <p:cNvSpPr/>
              <p:nvPr userDrawn="1"/>
            </p:nvSpPr>
            <p:spPr>
              <a:xfrm>
                <a:off x="9962553" y="4064210"/>
                <a:ext cx="657225" cy="415324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0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0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00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42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711200" y="6379782"/>
            <a:ext cx="8026400" cy="2382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>
                <a:solidFill>
                  <a:srgbClr val="FFFFFF"/>
                </a:solidFill>
              </a:rPr>
              <a:t>Источник:</a:t>
            </a: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75336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violet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8800" y="2543215"/>
            <a:ext cx="11419200" cy="1530589"/>
          </a:xfrm>
        </p:spPr>
        <p:txBody>
          <a:bodyPr/>
          <a:lstStyle>
            <a:lvl1pPr>
              <a:defRPr sz="5332" b="1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ru-RU" dirty="0"/>
              <a:t>Headline example, </a:t>
            </a:r>
            <a:br>
              <a:rPr lang="ru-RU" dirty="0"/>
            </a:br>
            <a:r>
              <a:rPr lang="ru-RU" dirty="0"/>
              <a:t>in two lines. (40pt)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E283272-C96A-4D50-B10F-0206D78EC13A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89467" y="385115"/>
            <a:ext cx="1388533" cy="1768141"/>
          </a:xfrm>
        </p:spPr>
        <p:txBody>
          <a:bodyPr/>
          <a:lstStyle>
            <a:lvl1pPr>
              <a:defRPr sz="15995" b="1">
                <a:latin typeface="+mj-lt"/>
              </a:defRPr>
            </a:lvl1pPr>
          </a:lstStyle>
          <a:p>
            <a:pPr lvl="0"/>
            <a:r>
              <a:rPr lang="ru-RU" dirty="0" smtClean="0"/>
              <a:t>#</a:t>
            </a:r>
            <a:endParaRPr lang="ru-RU" dirty="0"/>
          </a:p>
        </p:txBody>
      </p:sp>
      <p:grpSp>
        <p:nvGrpSpPr>
          <p:cNvPr id="12" name="Gruppieren 11"/>
          <p:cNvGrpSpPr/>
          <p:nvPr/>
        </p:nvGrpSpPr>
        <p:grpSpPr>
          <a:xfrm>
            <a:off x="11564407" y="6551177"/>
            <a:ext cx="244477" cy="69829"/>
            <a:chOff x="8673305" y="4914900"/>
            <a:chExt cx="183358" cy="52388"/>
          </a:xfrm>
        </p:grpSpPr>
        <p:sp>
          <p:nvSpPr>
            <p:cNvPr id="13" name="Ellipse 12"/>
            <p:cNvSpPr/>
            <p:nvPr userDrawn="1"/>
          </p:nvSpPr>
          <p:spPr>
            <a:xfrm>
              <a:off x="8804275" y="4914900"/>
              <a:ext cx="52388" cy="523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02"/>
              <a:endParaRPr lang="ru-RU" sz="2399" dirty="0">
                <a:solidFill>
                  <a:srgbClr val="FFFFFF"/>
                </a:solidFill>
              </a:endParaRPr>
            </a:p>
          </p:txBody>
        </p:sp>
        <p:sp>
          <p:nvSpPr>
            <p:cNvPr id="14" name="Ellipse 13"/>
            <p:cNvSpPr/>
            <p:nvPr userDrawn="1"/>
          </p:nvSpPr>
          <p:spPr>
            <a:xfrm>
              <a:off x="8738790" y="4914900"/>
              <a:ext cx="52388" cy="5238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02"/>
              <a:endParaRPr lang="ru-RU" sz="2399" dirty="0">
                <a:solidFill>
                  <a:srgbClr val="FFFFFF"/>
                </a:solidFill>
              </a:endParaRPr>
            </a:p>
          </p:txBody>
        </p:sp>
        <p:sp>
          <p:nvSpPr>
            <p:cNvPr id="15" name="Ellipse 14"/>
            <p:cNvSpPr/>
            <p:nvPr userDrawn="1"/>
          </p:nvSpPr>
          <p:spPr>
            <a:xfrm>
              <a:off x="8673305" y="4914900"/>
              <a:ext cx="52388" cy="523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02"/>
              <a:endParaRPr lang="ru-RU" sz="2399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1" name="Group 10"/>
          <p:cNvGrpSpPr/>
          <p:nvPr userDrawn="1"/>
        </p:nvGrpSpPr>
        <p:grpSpPr>
          <a:xfrm>
            <a:off x="12293599" y="0"/>
            <a:ext cx="1917700" cy="6858000"/>
            <a:chOff x="9220199" y="0"/>
            <a:chExt cx="1438275" cy="5145088"/>
          </a:xfrm>
        </p:grpSpPr>
        <p:sp>
          <p:nvSpPr>
            <p:cNvPr id="16" name="Rectangle 15"/>
            <p:cNvSpPr/>
            <p:nvPr userDrawn="1"/>
          </p:nvSpPr>
          <p:spPr>
            <a:xfrm>
              <a:off x="9220199" y="0"/>
              <a:ext cx="1438275" cy="514508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>
              <a:noAutofit/>
            </a:bodyPr>
            <a:lstStyle/>
            <a:p>
              <a:pPr algn="ctr" defTabSz="609402"/>
              <a:endParaRPr lang="ru-RU" sz="2399">
                <a:solidFill>
                  <a:srgbClr val="FFFFFF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9278604" y="80549"/>
              <a:ext cx="1321463" cy="34290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>
              <a:noAutofit/>
            </a:bodyPr>
            <a:lstStyle/>
            <a:p>
              <a:pPr algn="ctr" defTabSz="609402"/>
              <a:r>
                <a:rPr lang="en-US" sz="1599" b="1" dirty="0" smtClean="0">
                  <a:solidFill>
                    <a:srgbClr val="000000"/>
                  </a:solidFill>
                </a:rPr>
                <a:t>RGB colors</a:t>
              </a:r>
              <a:endParaRPr lang="ru-RU" sz="1599" b="1" dirty="0">
                <a:solidFill>
                  <a:srgbClr val="000000"/>
                </a:solidFill>
              </a:endParaRPr>
            </a:p>
          </p:txBody>
        </p:sp>
        <p:grpSp>
          <p:nvGrpSpPr>
            <p:cNvPr id="18" name="Group 17"/>
            <p:cNvGrpSpPr/>
            <p:nvPr userDrawn="1"/>
          </p:nvGrpSpPr>
          <p:grpSpPr>
            <a:xfrm>
              <a:off x="9258894" y="635301"/>
              <a:ext cx="1360884" cy="415324"/>
              <a:chOff x="9258894" y="382056"/>
              <a:chExt cx="1360884" cy="415324"/>
            </a:xfrm>
          </p:grpSpPr>
          <p:sp>
            <p:nvSpPr>
              <p:cNvPr id="43" name="Rectangle 42"/>
              <p:cNvSpPr/>
              <p:nvPr userDrawn="1"/>
            </p:nvSpPr>
            <p:spPr>
              <a:xfrm>
                <a:off x="9258894" y="382056"/>
                <a:ext cx="657225" cy="415324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4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8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60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Rectangle 43"/>
              <p:cNvSpPr/>
              <p:nvPr userDrawn="1"/>
            </p:nvSpPr>
            <p:spPr>
              <a:xfrm>
                <a:off x="9962553" y="382056"/>
                <a:ext cx="657225" cy="415324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08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4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13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9" name="Group 18"/>
            <p:cNvGrpSpPr/>
            <p:nvPr userDrawn="1"/>
          </p:nvGrpSpPr>
          <p:grpSpPr>
            <a:xfrm>
              <a:off x="9258894" y="1113435"/>
              <a:ext cx="1360884" cy="415324"/>
              <a:chOff x="9258894" y="842963"/>
              <a:chExt cx="1360884" cy="415324"/>
            </a:xfrm>
          </p:grpSpPr>
          <p:sp>
            <p:nvSpPr>
              <p:cNvPr id="41" name="Rectangle 40"/>
              <p:cNvSpPr/>
              <p:nvPr userDrawn="1"/>
            </p:nvSpPr>
            <p:spPr>
              <a:xfrm>
                <a:off x="9258894" y="842963"/>
                <a:ext cx="657225" cy="41532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11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2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30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Rectangle 41"/>
              <p:cNvSpPr/>
              <p:nvPr userDrawn="1"/>
            </p:nvSpPr>
            <p:spPr>
              <a:xfrm>
                <a:off x="9962553" y="842963"/>
                <a:ext cx="657225" cy="415324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3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19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44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Group 19"/>
            <p:cNvGrpSpPr/>
            <p:nvPr userDrawn="1"/>
          </p:nvGrpSpPr>
          <p:grpSpPr>
            <a:xfrm>
              <a:off x="9258894" y="1591569"/>
              <a:ext cx="1360884" cy="415324"/>
              <a:chOff x="9258894" y="1303870"/>
              <a:chExt cx="1360884" cy="415324"/>
            </a:xfrm>
          </p:grpSpPr>
          <p:sp>
            <p:nvSpPr>
              <p:cNvPr id="39" name="Rectangle 38"/>
              <p:cNvSpPr/>
              <p:nvPr userDrawn="1"/>
            </p:nvSpPr>
            <p:spPr>
              <a:xfrm>
                <a:off x="9258894" y="1303870"/>
                <a:ext cx="657225" cy="41532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9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21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229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0" name="Rectangle 39"/>
              <p:cNvSpPr/>
              <p:nvPr userDrawn="1"/>
            </p:nvSpPr>
            <p:spPr>
              <a:xfrm>
                <a:off x="9962553" y="1303870"/>
                <a:ext cx="657225" cy="415324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2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4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50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1" name="Group 20"/>
            <p:cNvGrpSpPr/>
            <p:nvPr userDrawn="1"/>
          </p:nvGrpSpPr>
          <p:grpSpPr>
            <a:xfrm>
              <a:off x="9258894" y="2069703"/>
              <a:ext cx="1360884" cy="415324"/>
              <a:chOff x="9258894" y="1759330"/>
              <a:chExt cx="1360884" cy="415324"/>
            </a:xfrm>
          </p:grpSpPr>
          <p:sp>
            <p:nvSpPr>
              <p:cNvPr id="37" name="Rectangle 36"/>
              <p:cNvSpPr/>
              <p:nvPr userDrawn="1"/>
            </p:nvSpPr>
            <p:spPr>
              <a:xfrm>
                <a:off x="9258894" y="1759330"/>
                <a:ext cx="657225" cy="415324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68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6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37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" name="Rectangle 37"/>
              <p:cNvSpPr/>
              <p:nvPr userDrawn="1"/>
            </p:nvSpPr>
            <p:spPr>
              <a:xfrm>
                <a:off x="9962553" y="1759330"/>
                <a:ext cx="657225" cy="415324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14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13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35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2" name="Group 21"/>
            <p:cNvGrpSpPr/>
            <p:nvPr userDrawn="1"/>
          </p:nvGrpSpPr>
          <p:grpSpPr>
            <a:xfrm>
              <a:off x="9258894" y="2547837"/>
              <a:ext cx="1360884" cy="415324"/>
              <a:chOff x="9258894" y="2220306"/>
              <a:chExt cx="1360884" cy="415324"/>
            </a:xfrm>
          </p:grpSpPr>
          <p:sp>
            <p:nvSpPr>
              <p:cNvPr id="35" name="Rectangle 34"/>
              <p:cNvSpPr/>
              <p:nvPr userDrawn="1"/>
            </p:nvSpPr>
            <p:spPr>
              <a:xfrm>
                <a:off x="9258894" y="2220306"/>
                <a:ext cx="657225" cy="415324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25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6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23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" name="Rectangle 35"/>
              <p:cNvSpPr/>
              <p:nvPr userDrawn="1"/>
            </p:nvSpPr>
            <p:spPr>
              <a:xfrm>
                <a:off x="9962553" y="2220306"/>
                <a:ext cx="657225" cy="415324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5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3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09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3" name="Group 22"/>
            <p:cNvGrpSpPr/>
            <p:nvPr userDrawn="1"/>
          </p:nvGrpSpPr>
          <p:grpSpPr>
            <a:xfrm>
              <a:off x="9258894" y="3025971"/>
              <a:ext cx="1360884" cy="415324"/>
              <a:chOff x="9258894" y="2681282"/>
              <a:chExt cx="1360884" cy="415324"/>
            </a:xfrm>
          </p:grpSpPr>
          <p:sp>
            <p:nvSpPr>
              <p:cNvPr id="33" name="Rectangle 32"/>
              <p:cNvSpPr/>
              <p:nvPr userDrawn="1"/>
            </p:nvSpPr>
            <p:spPr>
              <a:xfrm>
                <a:off x="9258894" y="2681282"/>
                <a:ext cx="657225" cy="415324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23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9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64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" name="Rectangle 33"/>
              <p:cNvSpPr/>
              <p:nvPr userDrawn="1"/>
            </p:nvSpPr>
            <p:spPr>
              <a:xfrm>
                <a:off x="9962553" y="2681282"/>
                <a:ext cx="657225" cy="415324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5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2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17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4" name="Group 23"/>
            <p:cNvGrpSpPr/>
            <p:nvPr userDrawn="1"/>
          </p:nvGrpSpPr>
          <p:grpSpPr>
            <a:xfrm>
              <a:off x="9258894" y="3504105"/>
              <a:ext cx="1360884" cy="415324"/>
              <a:chOff x="9258894" y="3142258"/>
              <a:chExt cx="1360884" cy="415324"/>
            </a:xfrm>
          </p:grpSpPr>
          <p:sp>
            <p:nvSpPr>
              <p:cNvPr id="31" name="Rectangle 30"/>
              <p:cNvSpPr/>
              <p:nvPr userDrawn="1"/>
            </p:nvSpPr>
            <p:spPr>
              <a:xfrm>
                <a:off x="9258894" y="3142258"/>
                <a:ext cx="657225" cy="41532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4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4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42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tangle 31"/>
              <p:cNvSpPr/>
              <p:nvPr userDrawn="1"/>
            </p:nvSpPr>
            <p:spPr>
              <a:xfrm>
                <a:off x="9962553" y="3142258"/>
                <a:ext cx="657225" cy="415324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1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1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17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5" name="Group 24"/>
            <p:cNvGrpSpPr/>
            <p:nvPr userDrawn="1"/>
          </p:nvGrpSpPr>
          <p:grpSpPr>
            <a:xfrm>
              <a:off x="9258894" y="3982239"/>
              <a:ext cx="1360884" cy="415324"/>
              <a:chOff x="9258894" y="3603234"/>
              <a:chExt cx="1360884" cy="415324"/>
            </a:xfrm>
          </p:grpSpPr>
          <p:sp>
            <p:nvSpPr>
              <p:cNvPr id="29" name="Rectangle 28"/>
              <p:cNvSpPr/>
              <p:nvPr userDrawn="1"/>
            </p:nvSpPr>
            <p:spPr>
              <a:xfrm>
                <a:off x="9258894" y="3603234"/>
                <a:ext cx="657225" cy="415324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19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19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191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Rectangle 29"/>
              <p:cNvSpPr/>
              <p:nvPr userDrawn="1"/>
            </p:nvSpPr>
            <p:spPr>
              <a:xfrm>
                <a:off x="9962553" y="3603234"/>
                <a:ext cx="657225" cy="415324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166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66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66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6" name="Group 25"/>
            <p:cNvGrpSpPr/>
            <p:nvPr userDrawn="1"/>
          </p:nvGrpSpPr>
          <p:grpSpPr>
            <a:xfrm>
              <a:off x="9258894" y="4460376"/>
              <a:ext cx="1360884" cy="415324"/>
              <a:chOff x="9258894" y="4064210"/>
              <a:chExt cx="1360884" cy="415324"/>
            </a:xfrm>
          </p:grpSpPr>
          <p:sp>
            <p:nvSpPr>
              <p:cNvPr id="27" name="Rectangle 26"/>
              <p:cNvSpPr/>
              <p:nvPr userDrawn="1"/>
            </p:nvSpPr>
            <p:spPr>
              <a:xfrm>
                <a:off x="9258894" y="4064210"/>
                <a:ext cx="657225" cy="415324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12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2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27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" name="Rectangle 27"/>
              <p:cNvSpPr/>
              <p:nvPr userDrawn="1"/>
            </p:nvSpPr>
            <p:spPr>
              <a:xfrm>
                <a:off x="9962553" y="4064210"/>
                <a:ext cx="657225" cy="415324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0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0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00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45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711200" y="6379782"/>
            <a:ext cx="8026400" cy="238293"/>
          </a:xfrm>
        </p:spPr>
        <p:txBody>
          <a:bodyPr/>
          <a:lstStyle/>
          <a:p>
            <a:r>
              <a:rPr lang="ru-RU" smtClean="0">
                <a:solidFill>
                  <a:srgbClr val="000000"/>
                </a:solidFill>
              </a:rPr>
              <a:t>Источник:</a:t>
            </a:r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32082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Ful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389467" y="1507483"/>
            <a:ext cx="11419200" cy="4485153"/>
          </a:xfrm>
        </p:spPr>
        <p:txBody>
          <a:bodyPr/>
          <a:lstStyle/>
          <a:p>
            <a:pPr lvl="0"/>
            <a:r>
              <a:rPr lang="ru-RU" noProof="0" dirty="0"/>
              <a:t>Edit flowing text level 12pt to (16pt)</a:t>
            </a:r>
          </a:p>
          <a:p>
            <a:pPr lvl="1"/>
            <a:r>
              <a:rPr lang="ru-RU" noProof="0" dirty="0"/>
              <a:t>Second level</a:t>
            </a:r>
          </a:p>
          <a:p>
            <a:pPr lvl="2"/>
            <a:r>
              <a:rPr lang="ru-RU" noProof="0" dirty="0"/>
              <a:t>Third level</a:t>
            </a:r>
          </a:p>
          <a:p>
            <a:pPr lvl="3"/>
            <a:r>
              <a:rPr lang="ru-RU" noProof="0" dirty="0"/>
              <a:t>Fourth level</a:t>
            </a:r>
          </a:p>
          <a:p>
            <a:pPr lvl="4"/>
            <a:r>
              <a:rPr lang="ru-RU" noProof="0" dirty="0"/>
              <a:t>Fif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Headline example (20pt), </a:t>
            </a:r>
            <a:br>
              <a:rPr lang="ru-RU" dirty="0"/>
            </a:br>
            <a:r>
              <a:rPr lang="ru-RU" dirty="0"/>
              <a:t>in two lines.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83272-C96A-4D50-B10F-0206D78EC13A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38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711200" y="6379782"/>
            <a:ext cx="8026400" cy="238293"/>
          </a:xfrm>
        </p:spPr>
        <p:txBody>
          <a:bodyPr/>
          <a:lstStyle/>
          <a:p>
            <a:r>
              <a:rPr lang="ru-RU" smtClean="0">
                <a:solidFill>
                  <a:srgbClr val="000000"/>
                </a:solidFill>
              </a:rPr>
              <a:t>Источник:</a:t>
            </a:r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21269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9DB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5970" tIns="47985" rIns="95970" bIns="47985" rtlCol="0" anchor="ctr" anchorCtr="0">
            <a:noAutofit/>
          </a:bodyPr>
          <a:lstStyle/>
          <a:p>
            <a:pPr algn="ctr" defTabSz="609402"/>
            <a:endParaRPr lang="ru-RU" sz="2399">
              <a:solidFill>
                <a:srgbClr val="FFFFFF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94808" y="1519458"/>
            <a:ext cx="11419200" cy="45049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5970" tIns="47985" rIns="95970" bIns="47985" rtlCol="0" anchor="ctr" anchorCtr="0">
            <a:noAutofit/>
          </a:bodyPr>
          <a:lstStyle/>
          <a:p>
            <a:pPr algn="ctr" defTabSz="609402"/>
            <a:endParaRPr lang="ru-RU" sz="2399">
              <a:solidFill>
                <a:srgbClr val="FFFFFF"/>
              </a:solidFill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388800" y="335897"/>
            <a:ext cx="11419200" cy="7877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5970" tIns="47985" rIns="95970" bIns="47985" rtlCol="0" anchor="ctr" anchorCtr="0">
            <a:noAutofit/>
          </a:bodyPr>
          <a:lstStyle/>
          <a:p>
            <a:pPr algn="ctr" defTabSz="609402"/>
            <a:endParaRPr lang="ru-RU" sz="2399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8800" y="335897"/>
            <a:ext cx="11419200" cy="787707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83272-C96A-4D50-B10F-0206D78EC13A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1140109"/>
            <a:ext cx="12192000" cy="0"/>
          </a:xfrm>
          <a:prstGeom prst="line">
            <a:avLst/>
          </a:prstGeom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0" y="6379781"/>
            <a:ext cx="12192000" cy="0"/>
          </a:xfrm>
          <a:prstGeom prst="line">
            <a:avLst/>
          </a:prstGeom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388800" y="0"/>
            <a:ext cx="0" cy="6858000"/>
          </a:xfrm>
          <a:prstGeom prst="line">
            <a:avLst/>
          </a:prstGeom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11808000" y="0"/>
            <a:ext cx="0" cy="6858000"/>
          </a:xfrm>
          <a:prstGeom prst="line">
            <a:avLst/>
          </a:prstGeom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0" y="1507483"/>
            <a:ext cx="12192000" cy="0"/>
          </a:xfrm>
          <a:prstGeom prst="line">
            <a:avLst/>
          </a:prstGeom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8408" y="6024383"/>
            <a:ext cx="12192000" cy="0"/>
          </a:xfrm>
          <a:prstGeom prst="line">
            <a:avLst/>
          </a:prstGeom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711200" y="6379782"/>
            <a:ext cx="8026400" cy="238293"/>
          </a:xfrm>
        </p:spPr>
        <p:txBody>
          <a:bodyPr/>
          <a:lstStyle/>
          <a:p>
            <a:r>
              <a:rPr lang="ru-RU" smtClean="0">
                <a:solidFill>
                  <a:srgbClr val="000000"/>
                </a:solidFill>
              </a:rPr>
              <a:t>Источник:</a:t>
            </a:r>
            <a:endParaRPr lang="ru-RU">
              <a:solidFill>
                <a:srgbClr val="000000"/>
              </a:solidFill>
            </a:endParaRP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0" y="6618074"/>
            <a:ext cx="12192000" cy="0"/>
          </a:xfrm>
          <a:prstGeom prst="line">
            <a:avLst/>
          </a:prstGeom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 flipV="1">
            <a:off x="387077" y="3750060"/>
            <a:ext cx="11426931" cy="5989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>
            <a:endCxn id="23" idx="2"/>
          </p:cNvCxnSpPr>
          <p:nvPr userDrawn="1"/>
        </p:nvCxnSpPr>
        <p:spPr>
          <a:xfrm>
            <a:off x="6104408" y="1507484"/>
            <a:ext cx="0" cy="4516899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3248107" y="1507483"/>
            <a:ext cx="0" cy="4502579"/>
          </a:xfrm>
          <a:prstGeom prst="line">
            <a:avLst/>
          </a:prstGeom>
          <a:ln w="9525">
            <a:solidFill>
              <a:schemeClr val="accent1">
                <a:lumMod val="40000"/>
                <a:lumOff val="6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>
            <a:off x="8960708" y="1507483"/>
            <a:ext cx="0" cy="4502579"/>
          </a:xfrm>
          <a:prstGeom prst="line">
            <a:avLst/>
          </a:prstGeom>
          <a:ln w="9525">
            <a:solidFill>
              <a:schemeClr val="accent1">
                <a:lumMod val="40000"/>
                <a:lumOff val="6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 userDrawn="1"/>
        </p:nvCxnSpPr>
        <p:spPr>
          <a:xfrm>
            <a:off x="4181992" y="1490976"/>
            <a:ext cx="0" cy="4519086"/>
          </a:xfrm>
          <a:prstGeom prst="line">
            <a:avLst/>
          </a:prstGeom>
          <a:ln w="9525">
            <a:solidFill>
              <a:schemeClr val="accent4">
                <a:lumMod val="40000"/>
                <a:lumOff val="6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 userDrawn="1"/>
        </p:nvCxnSpPr>
        <p:spPr>
          <a:xfrm>
            <a:off x="8009159" y="1490976"/>
            <a:ext cx="0" cy="4533407"/>
          </a:xfrm>
          <a:prstGeom prst="line">
            <a:avLst/>
          </a:prstGeom>
          <a:ln w="9525">
            <a:solidFill>
              <a:schemeClr val="accent4">
                <a:lumMod val="40000"/>
                <a:lumOff val="6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 userDrawn="1"/>
        </p:nvCxnSpPr>
        <p:spPr>
          <a:xfrm>
            <a:off x="390525" y="2630978"/>
            <a:ext cx="11409068" cy="0"/>
          </a:xfrm>
          <a:prstGeom prst="line">
            <a:avLst/>
          </a:prstGeom>
          <a:ln w="9525">
            <a:solidFill>
              <a:schemeClr val="accent1">
                <a:lumMod val="40000"/>
                <a:lumOff val="6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 userDrawn="1"/>
        </p:nvCxnSpPr>
        <p:spPr>
          <a:xfrm>
            <a:off x="390525" y="4886993"/>
            <a:ext cx="11409068" cy="0"/>
          </a:xfrm>
          <a:prstGeom prst="line">
            <a:avLst/>
          </a:prstGeom>
          <a:ln w="9525">
            <a:solidFill>
              <a:schemeClr val="accent1">
                <a:lumMod val="40000"/>
                <a:lumOff val="6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>
            <a:off x="387077" y="3006778"/>
            <a:ext cx="11412515" cy="0"/>
          </a:xfrm>
          <a:prstGeom prst="line">
            <a:avLst/>
          </a:prstGeom>
          <a:ln w="9525">
            <a:solidFill>
              <a:schemeClr val="accent4">
                <a:lumMod val="40000"/>
                <a:lumOff val="6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>
            <a:off x="387077" y="4505317"/>
            <a:ext cx="11412515" cy="0"/>
          </a:xfrm>
          <a:prstGeom prst="line">
            <a:avLst/>
          </a:prstGeom>
          <a:ln w="9525">
            <a:solidFill>
              <a:schemeClr val="accent4">
                <a:lumMod val="40000"/>
                <a:lumOff val="6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95985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6175" y="601431"/>
            <a:ext cx="11079944" cy="929419"/>
          </a:xfrm>
        </p:spPr>
        <p:txBody>
          <a:bodyPr anchor="t" anchorCtr="0">
            <a:normAutofit/>
          </a:bodyPr>
          <a:lstStyle>
            <a:lvl1pPr>
              <a:defRPr sz="3600">
                <a:latin typeface="GT Walsheim Pro Black" panose="00000900000000000000" pitchFamily="50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06175" y="1835056"/>
            <a:ext cx="11079944" cy="4154778"/>
          </a:xfrm>
        </p:spPr>
        <p:txBody>
          <a:bodyPr/>
          <a:lstStyle>
            <a:lvl1pPr marL="228600" indent="-228600">
              <a:buFont typeface="Calibri" panose="020F0502020204030204" pitchFamily="34" charset="0"/>
              <a:buChar char="-"/>
              <a:defRPr>
                <a:latin typeface="GT Walsheim Pro" panose="00000500000000000000" pitchFamily="50" charset="-52"/>
              </a:defRPr>
            </a:lvl1pPr>
            <a:lvl2pPr marL="685800" indent="-228600">
              <a:buFont typeface="Calibri" panose="020F0502020204030204" pitchFamily="34" charset="0"/>
              <a:buChar char="-"/>
              <a:defRPr>
                <a:latin typeface="GT Walsheim Pro" panose="00000500000000000000" pitchFamily="50" charset="-52"/>
              </a:defRPr>
            </a:lvl2pPr>
            <a:lvl3pPr marL="1143000" indent="-228600">
              <a:buFont typeface="Calibri" panose="020F0502020204030204" pitchFamily="34" charset="0"/>
              <a:buChar char="-"/>
              <a:defRPr>
                <a:latin typeface="GT Walsheim Pro" panose="00000500000000000000" pitchFamily="50" charset="-52"/>
              </a:defRPr>
            </a:lvl3pPr>
            <a:lvl4pPr marL="1600200" indent="-228600">
              <a:buFont typeface="Calibri" panose="020F0502020204030204" pitchFamily="34" charset="0"/>
              <a:buChar char="-"/>
              <a:defRPr>
                <a:latin typeface="GT Walsheim Pro" panose="00000500000000000000" pitchFamily="50" charset="-52"/>
              </a:defRPr>
            </a:lvl4pPr>
            <a:lvl5pPr marL="2057400" indent="-228600">
              <a:buFont typeface="Calibri" panose="020F0502020204030204" pitchFamily="34" charset="0"/>
              <a:buChar char="-"/>
              <a:defRPr>
                <a:latin typeface="GT Walsheim Pro" panose="00000500000000000000" pitchFamily="50" charset="-52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-1691118" y="6173787"/>
            <a:ext cx="1248508" cy="365125"/>
          </a:xfrm>
        </p:spPr>
        <p:txBody>
          <a:bodyPr/>
          <a:lstStyle/>
          <a:p>
            <a:fld id="{B1379C52-B66C-44E8-AF37-185DDE1AC4C4}" type="datetime1">
              <a:rPr lang="ru-RU" smtClean="0"/>
              <a:t>04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-1691118" y="5219211"/>
            <a:ext cx="1541585" cy="376959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274127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156" userDrawn="1">
          <p15:clr>
            <a:srgbClr val="FBAE40"/>
          </p15:clr>
        </p15:guide>
        <p15:guide id="2" orient="horz" pos="3952" userDrawn="1">
          <p15:clr>
            <a:srgbClr val="FBAE40"/>
          </p15:clr>
        </p15:guide>
        <p15:guide id="3" orient="horz" pos="3793" userDrawn="1">
          <p15:clr>
            <a:srgbClr val="FBAE40"/>
          </p15:clr>
        </p15:guide>
        <p15:guide id="4" pos="1300" userDrawn="1">
          <p15:clr>
            <a:srgbClr val="FBAE40"/>
          </p15:clr>
        </p15:guide>
        <p15:guide id="5" pos="5904" userDrawn="1">
          <p15:clr>
            <a:srgbClr val="FBAE40"/>
          </p15:clr>
        </p15:guide>
        <p15:guide id="6" pos="724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Only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27DCACE3-CA75-42D6-A907-7F4453873B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6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2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8800" y="335897"/>
            <a:ext cx="11419200" cy="787707"/>
          </a:xfrm>
        </p:spPr>
        <p:txBody>
          <a:bodyPr/>
          <a:lstStyle/>
          <a:p>
            <a:r>
              <a:rPr lang="ru-RU" dirty="0"/>
              <a:t>Headline example (20pt), </a:t>
            </a:r>
            <a:br>
              <a:rPr lang="ru-RU" dirty="0"/>
            </a:br>
            <a:r>
              <a:rPr lang="ru-RU" dirty="0"/>
              <a:t>in two lines. 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711200" y="6379782"/>
            <a:ext cx="8026400" cy="238293"/>
          </a:xfrm>
        </p:spPr>
        <p:txBody>
          <a:bodyPr/>
          <a:lstStyle/>
          <a:p>
            <a:r>
              <a:rPr lang="ru-RU" smtClean="0">
                <a:solidFill>
                  <a:srgbClr val="000000"/>
                </a:solidFill>
              </a:rPr>
              <a:t>Источник:</a:t>
            </a: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390525" y="6379782"/>
            <a:ext cx="320676" cy="238293"/>
          </a:xfrm>
        </p:spPr>
        <p:txBody>
          <a:bodyPr/>
          <a:lstStyle/>
          <a:p>
            <a:fld id="{0E283272-C96A-4D50-B10F-0206D78EC13A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45525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's talk - final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389468" y="5192774"/>
            <a:ext cx="5058833" cy="327411"/>
          </a:xfrm>
        </p:spPr>
        <p:txBody>
          <a:bodyPr/>
          <a:lstStyle>
            <a:lvl1pPr>
              <a:spcBef>
                <a:spcPts val="0"/>
              </a:spcBef>
              <a:defRPr b="1" baseline="0"/>
            </a:lvl1pPr>
            <a:lvl5pPr marL="954306" indent="0">
              <a:buNone/>
              <a:defRPr/>
            </a:lvl5pPr>
          </a:lstStyle>
          <a:p>
            <a:pPr lvl="0"/>
            <a:r>
              <a:rPr lang="ru-RU" dirty="0"/>
              <a:t>Contact Name (16pt)</a:t>
            </a:r>
          </a:p>
        </p:txBody>
      </p:sp>
      <p:sp>
        <p:nvSpPr>
          <p:cNvPr id="16" name="Textplatzhalt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389468" y="5573579"/>
            <a:ext cx="5058833" cy="297668"/>
          </a:xfrm>
        </p:spPr>
        <p:txBody>
          <a:bodyPr anchor="b"/>
          <a:lstStyle>
            <a:lvl1pPr>
              <a:spcBef>
                <a:spcPts val="0"/>
              </a:spcBef>
              <a:defRPr b="0" baseline="0"/>
            </a:lvl1pPr>
            <a:lvl5pPr marL="954306" indent="0">
              <a:buNone/>
              <a:defRPr/>
            </a:lvl5pPr>
          </a:lstStyle>
          <a:p>
            <a:pPr lvl="0"/>
            <a:r>
              <a:rPr lang="ru-RU" dirty="0"/>
              <a:t>Contact Title (16pt)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353393" y="2950942"/>
            <a:ext cx="5865375" cy="592484"/>
          </a:xfrm>
        </p:spPr>
        <p:txBody>
          <a:bodyPr/>
          <a:lstStyle>
            <a:lvl1pPr>
              <a:defRPr sz="5332" b="1">
                <a:latin typeface="+mj-lt"/>
              </a:defRPr>
            </a:lvl1pPr>
            <a:lvl2pPr>
              <a:defRPr sz="5332" b="0">
                <a:latin typeface="Arial Black" panose="020B0A04020102020204" pitchFamily="34" charset="0"/>
              </a:defRPr>
            </a:lvl2pPr>
            <a:lvl3pPr>
              <a:defRPr sz="5332" b="0">
                <a:latin typeface="Arial Black" panose="020B0A04020102020204" pitchFamily="34" charset="0"/>
              </a:defRPr>
            </a:lvl3pPr>
            <a:lvl4pPr>
              <a:defRPr sz="5332" b="0">
                <a:latin typeface="Arial Black" panose="020B0A04020102020204" pitchFamily="34" charset="0"/>
              </a:defRPr>
            </a:lvl4pPr>
            <a:lvl5pPr>
              <a:defRPr sz="5332" b="0">
                <a:latin typeface="Arial Black" panose="020B0A04020102020204" pitchFamily="34" charset="0"/>
              </a:defRPr>
            </a:lvl5pPr>
          </a:lstStyle>
          <a:p>
            <a:pPr lvl="0"/>
            <a:r>
              <a:rPr lang="ru-RU" noProof="0" dirty="0"/>
              <a:t>Let’s</a:t>
            </a:r>
            <a:r>
              <a:rPr lang="ru-RU" dirty="0"/>
              <a:t> Talk</a:t>
            </a:r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389468" y="5858306"/>
            <a:ext cx="5058833" cy="297508"/>
          </a:xfrm>
        </p:spPr>
        <p:txBody>
          <a:bodyPr anchor="b"/>
          <a:lstStyle>
            <a:lvl1pPr>
              <a:spcBef>
                <a:spcPts val="0"/>
              </a:spcBef>
              <a:defRPr b="0" baseline="0"/>
            </a:lvl1pPr>
            <a:lvl5pPr marL="954306" indent="0">
              <a:buNone/>
              <a:defRPr/>
            </a:lvl5pPr>
          </a:lstStyle>
          <a:p>
            <a:pPr lvl="0"/>
            <a:r>
              <a:rPr lang="ru-RU" dirty="0"/>
              <a:t>telephone</a:t>
            </a:r>
          </a:p>
        </p:txBody>
      </p:sp>
      <p:sp>
        <p:nvSpPr>
          <p:cNvPr id="7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389468" y="6142872"/>
            <a:ext cx="5058833" cy="297508"/>
          </a:xfrm>
        </p:spPr>
        <p:txBody>
          <a:bodyPr anchor="b"/>
          <a:lstStyle>
            <a:lvl1pPr>
              <a:spcBef>
                <a:spcPts val="0"/>
              </a:spcBef>
              <a:defRPr b="0" baseline="0"/>
            </a:lvl1pPr>
            <a:lvl5pPr marL="954306" indent="0">
              <a:buNone/>
              <a:defRPr/>
            </a:lvl5pPr>
          </a:lstStyle>
          <a:p>
            <a:pPr lvl="0"/>
            <a:r>
              <a:rPr lang="ru-RU" dirty="0"/>
              <a:t>e-mail</a:t>
            </a: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8733" y="6045865"/>
            <a:ext cx="2472000" cy="439292"/>
          </a:xfrm>
          <a:prstGeom prst="rect">
            <a:avLst/>
          </a:prstGeom>
        </p:spPr>
      </p:pic>
      <p:grpSp>
        <p:nvGrpSpPr>
          <p:cNvPr id="9" name="Group 8"/>
          <p:cNvGrpSpPr/>
          <p:nvPr userDrawn="1"/>
        </p:nvGrpSpPr>
        <p:grpSpPr>
          <a:xfrm>
            <a:off x="12293599" y="0"/>
            <a:ext cx="1917700" cy="6858000"/>
            <a:chOff x="9220199" y="0"/>
            <a:chExt cx="1438275" cy="5145088"/>
          </a:xfrm>
        </p:grpSpPr>
        <p:sp>
          <p:nvSpPr>
            <p:cNvPr id="10" name="Rectangle 9"/>
            <p:cNvSpPr/>
            <p:nvPr userDrawn="1"/>
          </p:nvSpPr>
          <p:spPr>
            <a:xfrm>
              <a:off x="9220199" y="0"/>
              <a:ext cx="1438275" cy="514508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>
              <a:noAutofit/>
            </a:bodyPr>
            <a:lstStyle/>
            <a:p>
              <a:pPr algn="ctr" defTabSz="609402"/>
              <a:endParaRPr lang="ru-RU" sz="2399">
                <a:solidFill>
                  <a:srgbClr val="FFFFFF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9278604" y="80549"/>
              <a:ext cx="1321463" cy="34290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>
              <a:noAutofit/>
            </a:bodyPr>
            <a:lstStyle/>
            <a:p>
              <a:pPr algn="ctr" defTabSz="609402"/>
              <a:r>
                <a:rPr lang="en-US" sz="1599" b="1" dirty="0" smtClean="0">
                  <a:solidFill>
                    <a:srgbClr val="000000"/>
                  </a:solidFill>
                </a:rPr>
                <a:t>RGB colors</a:t>
              </a:r>
              <a:endParaRPr lang="ru-RU" sz="1599" b="1" dirty="0">
                <a:solidFill>
                  <a:srgbClr val="000000"/>
                </a:solidFill>
              </a:endParaRPr>
            </a:p>
          </p:txBody>
        </p:sp>
        <p:grpSp>
          <p:nvGrpSpPr>
            <p:cNvPr id="12" name="Group 11"/>
            <p:cNvGrpSpPr/>
            <p:nvPr userDrawn="1"/>
          </p:nvGrpSpPr>
          <p:grpSpPr>
            <a:xfrm>
              <a:off x="9258894" y="635301"/>
              <a:ext cx="1360884" cy="415324"/>
              <a:chOff x="9258894" y="382056"/>
              <a:chExt cx="1360884" cy="415324"/>
            </a:xfrm>
          </p:grpSpPr>
          <p:sp>
            <p:nvSpPr>
              <p:cNvPr id="40" name="Rectangle 39"/>
              <p:cNvSpPr/>
              <p:nvPr userDrawn="1"/>
            </p:nvSpPr>
            <p:spPr>
              <a:xfrm>
                <a:off x="9258894" y="382056"/>
                <a:ext cx="657225" cy="415324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4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8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60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Rectangle 40"/>
              <p:cNvSpPr/>
              <p:nvPr userDrawn="1"/>
            </p:nvSpPr>
            <p:spPr>
              <a:xfrm>
                <a:off x="9962553" y="382056"/>
                <a:ext cx="657225" cy="415324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08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4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13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3" name="Group 12"/>
            <p:cNvGrpSpPr/>
            <p:nvPr userDrawn="1"/>
          </p:nvGrpSpPr>
          <p:grpSpPr>
            <a:xfrm>
              <a:off x="9258894" y="1113435"/>
              <a:ext cx="1360884" cy="415324"/>
              <a:chOff x="9258894" y="842963"/>
              <a:chExt cx="1360884" cy="415324"/>
            </a:xfrm>
          </p:grpSpPr>
          <p:sp>
            <p:nvSpPr>
              <p:cNvPr id="38" name="Rectangle 37"/>
              <p:cNvSpPr/>
              <p:nvPr userDrawn="1"/>
            </p:nvSpPr>
            <p:spPr>
              <a:xfrm>
                <a:off x="9258894" y="842963"/>
                <a:ext cx="657225" cy="41532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11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2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30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" name="Rectangle 38"/>
              <p:cNvSpPr/>
              <p:nvPr userDrawn="1"/>
            </p:nvSpPr>
            <p:spPr>
              <a:xfrm>
                <a:off x="9962553" y="842963"/>
                <a:ext cx="657225" cy="415324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3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19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44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7" name="Group 16"/>
            <p:cNvGrpSpPr/>
            <p:nvPr userDrawn="1"/>
          </p:nvGrpSpPr>
          <p:grpSpPr>
            <a:xfrm>
              <a:off x="9258894" y="1591569"/>
              <a:ext cx="1360884" cy="415324"/>
              <a:chOff x="9258894" y="1303870"/>
              <a:chExt cx="1360884" cy="415324"/>
            </a:xfrm>
          </p:grpSpPr>
          <p:sp>
            <p:nvSpPr>
              <p:cNvPr id="36" name="Rectangle 35"/>
              <p:cNvSpPr/>
              <p:nvPr userDrawn="1"/>
            </p:nvSpPr>
            <p:spPr>
              <a:xfrm>
                <a:off x="9258894" y="1303870"/>
                <a:ext cx="657225" cy="41532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9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21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229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" name="Rectangle 36"/>
              <p:cNvSpPr/>
              <p:nvPr userDrawn="1"/>
            </p:nvSpPr>
            <p:spPr>
              <a:xfrm>
                <a:off x="9962553" y="1303870"/>
                <a:ext cx="657225" cy="415324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2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4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50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8" name="Group 17"/>
            <p:cNvGrpSpPr/>
            <p:nvPr userDrawn="1"/>
          </p:nvGrpSpPr>
          <p:grpSpPr>
            <a:xfrm>
              <a:off x="9258894" y="2069703"/>
              <a:ext cx="1360884" cy="415324"/>
              <a:chOff x="9258894" y="1759330"/>
              <a:chExt cx="1360884" cy="415324"/>
            </a:xfrm>
          </p:grpSpPr>
          <p:sp>
            <p:nvSpPr>
              <p:cNvPr id="34" name="Rectangle 33"/>
              <p:cNvSpPr/>
              <p:nvPr userDrawn="1"/>
            </p:nvSpPr>
            <p:spPr>
              <a:xfrm>
                <a:off x="9258894" y="1759330"/>
                <a:ext cx="657225" cy="415324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68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6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37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" name="Rectangle 34"/>
              <p:cNvSpPr/>
              <p:nvPr userDrawn="1"/>
            </p:nvSpPr>
            <p:spPr>
              <a:xfrm>
                <a:off x="9962553" y="1759330"/>
                <a:ext cx="657225" cy="415324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14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13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35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9" name="Group 18"/>
            <p:cNvGrpSpPr/>
            <p:nvPr userDrawn="1"/>
          </p:nvGrpSpPr>
          <p:grpSpPr>
            <a:xfrm>
              <a:off x="9258894" y="2547837"/>
              <a:ext cx="1360884" cy="415324"/>
              <a:chOff x="9258894" y="2220306"/>
              <a:chExt cx="1360884" cy="415324"/>
            </a:xfrm>
          </p:grpSpPr>
          <p:sp>
            <p:nvSpPr>
              <p:cNvPr id="32" name="Rectangle 31"/>
              <p:cNvSpPr/>
              <p:nvPr userDrawn="1"/>
            </p:nvSpPr>
            <p:spPr>
              <a:xfrm>
                <a:off x="9258894" y="2220306"/>
                <a:ext cx="657225" cy="415324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25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6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23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" name="Rectangle 32"/>
              <p:cNvSpPr/>
              <p:nvPr userDrawn="1"/>
            </p:nvSpPr>
            <p:spPr>
              <a:xfrm>
                <a:off x="9962553" y="2220306"/>
                <a:ext cx="657225" cy="415324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5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3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09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Group 19"/>
            <p:cNvGrpSpPr/>
            <p:nvPr userDrawn="1"/>
          </p:nvGrpSpPr>
          <p:grpSpPr>
            <a:xfrm>
              <a:off x="9258894" y="3025971"/>
              <a:ext cx="1360884" cy="415324"/>
              <a:chOff x="9258894" y="2681282"/>
              <a:chExt cx="1360884" cy="415324"/>
            </a:xfrm>
          </p:grpSpPr>
          <p:sp>
            <p:nvSpPr>
              <p:cNvPr id="30" name="Rectangle 29"/>
              <p:cNvSpPr/>
              <p:nvPr userDrawn="1"/>
            </p:nvSpPr>
            <p:spPr>
              <a:xfrm>
                <a:off x="9258894" y="2681282"/>
                <a:ext cx="657225" cy="415324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23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9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64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" name="Rectangle 30"/>
              <p:cNvSpPr/>
              <p:nvPr userDrawn="1"/>
            </p:nvSpPr>
            <p:spPr>
              <a:xfrm>
                <a:off x="9962553" y="2681282"/>
                <a:ext cx="657225" cy="415324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5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2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17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1" name="Group 20"/>
            <p:cNvGrpSpPr/>
            <p:nvPr userDrawn="1"/>
          </p:nvGrpSpPr>
          <p:grpSpPr>
            <a:xfrm>
              <a:off x="9258894" y="3504105"/>
              <a:ext cx="1360884" cy="415324"/>
              <a:chOff x="9258894" y="3142258"/>
              <a:chExt cx="1360884" cy="415324"/>
            </a:xfrm>
          </p:grpSpPr>
          <p:sp>
            <p:nvSpPr>
              <p:cNvPr id="28" name="Rectangle 27"/>
              <p:cNvSpPr/>
              <p:nvPr userDrawn="1"/>
            </p:nvSpPr>
            <p:spPr>
              <a:xfrm>
                <a:off x="9258894" y="3142258"/>
                <a:ext cx="657225" cy="41532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4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4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42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Rectangle 28"/>
              <p:cNvSpPr/>
              <p:nvPr userDrawn="1"/>
            </p:nvSpPr>
            <p:spPr>
              <a:xfrm>
                <a:off x="9962553" y="3142258"/>
                <a:ext cx="657225" cy="415324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1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1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17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2" name="Group 21"/>
            <p:cNvGrpSpPr/>
            <p:nvPr userDrawn="1"/>
          </p:nvGrpSpPr>
          <p:grpSpPr>
            <a:xfrm>
              <a:off x="9258894" y="3982239"/>
              <a:ext cx="1360884" cy="415324"/>
              <a:chOff x="9258894" y="3603234"/>
              <a:chExt cx="1360884" cy="415324"/>
            </a:xfrm>
          </p:grpSpPr>
          <p:sp>
            <p:nvSpPr>
              <p:cNvPr id="26" name="Rectangle 25"/>
              <p:cNvSpPr/>
              <p:nvPr userDrawn="1"/>
            </p:nvSpPr>
            <p:spPr>
              <a:xfrm>
                <a:off x="9258894" y="3603234"/>
                <a:ext cx="657225" cy="415324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19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19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191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Rectangle 26"/>
              <p:cNvSpPr/>
              <p:nvPr userDrawn="1"/>
            </p:nvSpPr>
            <p:spPr>
              <a:xfrm>
                <a:off x="9962553" y="3603234"/>
                <a:ext cx="657225" cy="415324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166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66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66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3" name="Group 22"/>
            <p:cNvGrpSpPr/>
            <p:nvPr userDrawn="1"/>
          </p:nvGrpSpPr>
          <p:grpSpPr>
            <a:xfrm>
              <a:off x="9258894" y="4460376"/>
              <a:ext cx="1360884" cy="415324"/>
              <a:chOff x="9258894" y="4064210"/>
              <a:chExt cx="1360884" cy="415324"/>
            </a:xfrm>
          </p:grpSpPr>
          <p:sp>
            <p:nvSpPr>
              <p:cNvPr id="24" name="Rectangle 23"/>
              <p:cNvSpPr/>
              <p:nvPr userDrawn="1"/>
            </p:nvSpPr>
            <p:spPr>
              <a:xfrm>
                <a:off x="9258894" y="4064210"/>
                <a:ext cx="657225" cy="415324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12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2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27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" name="Rectangle 24"/>
              <p:cNvSpPr/>
              <p:nvPr userDrawn="1"/>
            </p:nvSpPr>
            <p:spPr>
              <a:xfrm>
                <a:off x="9962553" y="4064210"/>
                <a:ext cx="657225" cy="415324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0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0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00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157821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9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3">
            <a:extLst>
              <a:ext uri="{FF2B5EF4-FFF2-40B4-BE49-F238E27FC236}">
                <a16:creationId xmlns:a16="http://schemas.microsoft.com/office/drawing/2014/main" xmlns="" id="{53E0B131-36CD-4414-8234-40EDD9E7CD1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711200" y="6379782"/>
            <a:ext cx="8023032" cy="238293"/>
          </a:xfrm>
        </p:spPr>
        <p:txBody>
          <a:bodyPr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xmlns="" id="{8FD724FB-0E84-48B6-9A26-565234A1D6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90525" y="6379782"/>
            <a:ext cx="320676" cy="238293"/>
          </a:xfrm>
        </p:spPr>
        <p:txBody>
          <a:bodyPr/>
          <a:lstStyle/>
          <a:p>
            <a:fld id="{0E283272-C96A-4D50-B10F-0206D78EC13A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56421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90019DF-37DF-4909-8A0B-0588E88C96FB}" type="datetime1">
              <a:rPr lang="ru-RU" smtClean="0"/>
              <a:t>04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3069584" y="5257800"/>
            <a:ext cx="2743200" cy="365125"/>
          </a:xfrm>
        </p:spPr>
        <p:txBody>
          <a:bodyPr/>
          <a:lstStyle/>
          <a:p>
            <a:fld id="{50BD42C2-9CC4-4324-AC1B-3D1B3C09CF9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914149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 txBox="1">
            <a:spLocks noGrp="1"/>
          </p:cNvSpPr>
          <p:nvPr>
            <p:ph type="dt" sz="half" idx="7"/>
          </p:nvPr>
        </p:nvSpPr>
        <p:spPr>
          <a:xfrm>
            <a:off x="4275667" y="6379782"/>
            <a:ext cx="1048803" cy="23829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FBD1789-28E3-4E5C-95C9-1A4A526DC9DA}" type="datetime1">
              <a:rPr lang="ru-RU"/>
              <a:pPr/>
              <a:t>04.12.2020</a:t>
            </a:fld>
            <a:endParaRPr/>
          </a:p>
        </p:txBody>
      </p:sp>
      <p:sp>
        <p:nvSpPr>
          <p:cNvPr id="3" name="Footer Placeholder 2"/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Slide Number Placeholder 3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fld id="{704FA31B-7EA9-4779-B860-573CE63D1F8C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43734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199F4B-C050-406F-9526-55D8EF073EE3}" type="datetime1">
              <a:rPr lang="ru-RU" smtClean="0"/>
              <a:t>04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BD42C2-9CC4-4324-AC1B-3D1B3C09CF9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008220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26EE7C-AF73-4391-87D5-14DCF48B2CF1}" type="datetime1">
              <a:rPr lang="ru-RU" smtClean="0"/>
              <a:t>04.12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BD42C2-9CC4-4324-AC1B-3D1B3C09CF9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49916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92BDF7-AC73-4DDF-8493-281189C79059}" type="datetime1">
              <a:rPr lang="ru-RU" smtClean="0"/>
              <a:t>04.12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BD42C2-9CC4-4324-AC1B-3D1B3C09CF9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56685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711BF-625F-4B73-8DF8-C48C36B3A340}" type="datetime1">
              <a:rPr lang="ru-RU" smtClean="0"/>
              <a:t>04.12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BD42C2-9CC4-4324-AC1B-3D1B3C09CF9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06670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35A4AB-EE74-4207-AAEF-02DB2CEB0F39}" type="datetime1">
              <a:rPr lang="ru-RU" smtClean="0"/>
              <a:t>04.12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BD42C2-9CC4-4324-AC1B-3D1B3C09CF9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251618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5F5FE9-2B8F-47C9-9474-E9DB687400F7}" type="datetime1">
              <a:rPr lang="ru-RU" smtClean="0"/>
              <a:t>04.12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BD42C2-9CC4-4324-AC1B-3D1B3C09CF9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37316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EBBC13-0D16-450C-8F44-88074E878E9D}" type="datetime1">
              <a:rPr lang="ru-RU" smtClean="0"/>
              <a:t>04.12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BD42C2-9CC4-4324-AC1B-3D1B3C09CF9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21882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3706D5-CE9B-405A-8905-E2971295A937}" type="datetime1">
              <a:rPr lang="ru-RU" smtClean="0"/>
              <a:t>04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BD42C2-9CC4-4324-AC1B-3D1B3C09CF9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16914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38" userDrawn="1">
          <p15:clr>
            <a:srgbClr val="F26B43"/>
          </p15:clr>
        </p15:guide>
        <p15:guide id="2" orient="horz" pos="43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6"/>
            </p:custDataLst>
            <p:extLst/>
          </p:nvPr>
        </p:nvGraphicFramePr>
        <p:xfrm>
          <a:off x="2118" y="2118"/>
          <a:ext cx="2116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"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platzhalter 7"/>
          <p:cNvSpPr>
            <a:spLocks noGrp="1"/>
          </p:cNvSpPr>
          <p:nvPr>
            <p:ph type="title"/>
          </p:nvPr>
        </p:nvSpPr>
        <p:spPr>
          <a:xfrm>
            <a:off x="388800" y="335897"/>
            <a:ext cx="11419200" cy="7877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 dirty="0"/>
              <a:t>Headline example (20pt), Lorem ipsum dolor sit amet, consectetur adipiscing elit ed ut perspiciatis unde omnis iste natus error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idx="1"/>
          </p:nvPr>
        </p:nvSpPr>
        <p:spPr>
          <a:xfrm>
            <a:off x="390526" y="1508718"/>
            <a:ext cx="11418357" cy="446478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ru-RU" noProof="0" dirty="0"/>
              <a:t>Edit continuous text level 12pt to (16pt)</a:t>
            </a:r>
          </a:p>
          <a:p>
            <a:pPr lvl="1"/>
            <a:r>
              <a:rPr lang="ru-RU" noProof="0" dirty="0"/>
              <a:t>Second level</a:t>
            </a:r>
          </a:p>
          <a:p>
            <a:pPr lvl="2"/>
            <a:r>
              <a:rPr lang="ru-RU" noProof="0" dirty="0"/>
              <a:t>Third level</a:t>
            </a:r>
          </a:p>
          <a:p>
            <a:pPr lvl="3"/>
            <a:r>
              <a:rPr lang="ru-RU" noProof="0" dirty="0"/>
              <a:t>Fourth level</a:t>
            </a:r>
          </a:p>
          <a:p>
            <a:pPr lvl="4"/>
            <a:r>
              <a:rPr lang="ru-RU" noProof="0" dirty="0"/>
              <a:t>Fifth level</a:t>
            </a: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3"/>
          </p:nvPr>
        </p:nvSpPr>
        <p:spPr>
          <a:xfrm>
            <a:off x="711200" y="6379782"/>
            <a:ext cx="8023032" cy="23829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 defTabSz="609402"/>
            <a:r>
              <a:rPr lang="ru-RU" smtClean="0">
                <a:solidFill>
                  <a:srgbClr val="000000"/>
                </a:solidFill>
              </a:rPr>
              <a:t>Источник: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4"/>
          </p:nvPr>
        </p:nvSpPr>
        <p:spPr>
          <a:xfrm>
            <a:off x="390525" y="6379782"/>
            <a:ext cx="320676" cy="23829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pPr defTabSz="609402"/>
            <a:fld id="{0E283272-C96A-4D50-B10F-0206D78EC13A}" type="slidenum">
              <a:rPr lang="ru-RU" smtClean="0">
                <a:solidFill>
                  <a:srgbClr val="000000"/>
                </a:solidFill>
              </a:rPr>
              <a:pPr defTabSz="60940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11564407" y="6551177"/>
            <a:ext cx="244477" cy="69829"/>
            <a:chOff x="8673305" y="4914900"/>
            <a:chExt cx="183358" cy="52388"/>
          </a:xfrm>
        </p:grpSpPr>
        <p:sp>
          <p:nvSpPr>
            <p:cNvPr id="5" name="Ellipse 4"/>
            <p:cNvSpPr/>
            <p:nvPr userDrawn="1"/>
          </p:nvSpPr>
          <p:spPr>
            <a:xfrm>
              <a:off x="8804275" y="4914900"/>
              <a:ext cx="52388" cy="523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02"/>
              <a:endParaRPr lang="ru-RU" sz="2399" dirty="0">
                <a:solidFill>
                  <a:srgbClr val="FFFFFF"/>
                </a:solidFill>
              </a:endParaRPr>
            </a:p>
          </p:txBody>
        </p:sp>
        <p:sp>
          <p:nvSpPr>
            <p:cNvPr id="14" name="Ellipse 13"/>
            <p:cNvSpPr/>
            <p:nvPr userDrawn="1"/>
          </p:nvSpPr>
          <p:spPr>
            <a:xfrm>
              <a:off x="8738790" y="4914900"/>
              <a:ext cx="52388" cy="5238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02"/>
              <a:endParaRPr lang="ru-RU" sz="2399" dirty="0">
                <a:solidFill>
                  <a:srgbClr val="FFFFFF"/>
                </a:solidFill>
              </a:endParaRPr>
            </a:p>
          </p:txBody>
        </p:sp>
        <p:sp>
          <p:nvSpPr>
            <p:cNvPr id="15" name="Ellipse 14"/>
            <p:cNvSpPr/>
            <p:nvPr userDrawn="1"/>
          </p:nvSpPr>
          <p:spPr>
            <a:xfrm>
              <a:off x="8673305" y="4914900"/>
              <a:ext cx="52388" cy="523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02"/>
              <a:endParaRPr lang="ru-RU" sz="2399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3" name="Group 52"/>
          <p:cNvGrpSpPr/>
          <p:nvPr userDrawn="1"/>
        </p:nvGrpSpPr>
        <p:grpSpPr>
          <a:xfrm>
            <a:off x="12293599" y="0"/>
            <a:ext cx="1917700" cy="6858000"/>
            <a:chOff x="9220199" y="0"/>
            <a:chExt cx="1438275" cy="5145088"/>
          </a:xfrm>
        </p:grpSpPr>
        <p:sp>
          <p:nvSpPr>
            <p:cNvPr id="2" name="Rectangle 1"/>
            <p:cNvSpPr/>
            <p:nvPr userDrawn="1"/>
          </p:nvSpPr>
          <p:spPr>
            <a:xfrm>
              <a:off x="9220199" y="0"/>
              <a:ext cx="1438275" cy="514508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>
              <a:noAutofit/>
            </a:bodyPr>
            <a:lstStyle/>
            <a:p>
              <a:pPr algn="ctr" defTabSz="609402"/>
              <a:endParaRPr lang="ru-RU" sz="2399">
                <a:solidFill>
                  <a:srgbClr val="FFFFFF"/>
                </a:solidFill>
              </a:endParaRPr>
            </a:p>
          </p:txBody>
        </p:sp>
        <p:sp>
          <p:nvSpPr>
            <p:cNvPr id="3" name="Rectangle 2"/>
            <p:cNvSpPr/>
            <p:nvPr userDrawn="1"/>
          </p:nvSpPr>
          <p:spPr>
            <a:xfrm>
              <a:off x="9278604" y="80549"/>
              <a:ext cx="1321463" cy="34290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>
              <a:noAutofit/>
            </a:bodyPr>
            <a:lstStyle/>
            <a:p>
              <a:pPr algn="ctr" defTabSz="609402"/>
              <a:r>
                <a:rPr lang="en-US" sz="1599" b="1" dirty="0" smtClean="0">
                  <a:solidFill>
                    <a:srgbClr val="000000"/>
                  </a:solidFill>
                </a:rPr>
                <a:t>RGB colors</a:t>
              </a:r>
              <a:endParaRPr lang="ru-RU" sz="1599" b="1" dirty="0">
                <a:solidFill>
                  <a:srgbClr val="000000"/>
                </a:solidFill>
              </a:endParaRPr>
            </a:p>
          </p:txBody>
        </p:sp>
        <p:grpSp>
          <p:nvGrpSpPr>
            <p:cNvPr id="52" name="Group 51"/>
            <p:cNvGrpSpPr/>
            <p:nvPr userDrawn="1"/>
          </p:nvGrpSpPr>
          <p:grpSpPr>
            <a:xfrm>
              <a:off x="9258894" y="635301"/>
              <a:ext cx="1360884" cy="415324"/>
              <a:chOff x="9258894" y="382056"/>
              <a:chExt cx="1360884" cy="415324"/>
            </a:xfrm>
          </p:grpSpPr>
          <p:sp>
            <p:nvSpPr>
              <p:cNvPr id="4" name="Rectangle 3"/>
              <p:cNvSpPr/>
              <p:nvPr userDrawn="1"/>
            </p:nvSpPr>
            <p:spPr>
              <a:xfrm>
                <a:off x="9258894" y="382056"/>
                <a:ext cx="657225" cy="415324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4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8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60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" name="Rectangle 15"/>
              <p:cNvSpPr/>
              <p:nvPr userDrawn="1"/>
            </p:nvSpPr>
            <p:spPr>
              <a:xfrm>
                <a:off x="9962553" y="382056"/>
                <a:ext cx="657225" cy="415324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08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4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13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1" name="Group 50"/>
            <p:cNvGrpSpPr/>
            <p:nvPr userDrawn="1"/>
          </p:nvGrpSpPr>
          <p:grpSpPr>
            <a:xfrm>
              <a:off x="9258894" y="1113435"/>
              <a:ext cx="1360884" cy="415324"/>
              <a:chOff x="9258894" y="842963"/>
              <a:chExt cx="1360884" cy="415324"/>
            </a:xfrm>
          </p:grpSpPr>
          <p:sp>
            <p:nvSpPr>
              <p:cNvPr id="21" name="Rectangle 20"/>
              <p:cNvSpPr/>
              <p:nvPr userDrawn="1"/>
            </p:nvSpPr>
            <p:spPr>
              <a:xfrm>
                <a:off x="9258894" y="842963"/>
                <a:ext cx="657225" cy="41532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11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2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30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" name="Rectangle 21"/>
              <p:cNvSpPr/>
              <p:nvPr userDrawn="1"/>
            </p:nvSpPr>
            <p:spPr>
              <a:xfrm>
                <a:off x="9962553" y="842963"/>
                <a:ext cx="657225" cy="415324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3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19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44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Group 49"/>
            <p:cNvGrpSpPr/>
            <p:nvPr userDrawn="1"/>
          </p:nvGrpSpPr>
          <p:grpSpPr>
            <a:xfrm>
              <a:off x="9258894" y="1591569"/>
              <a:ext cx="1360884" cy="415324"/>
              <a:chOff x="9258894" y="1303870"/>
              <a:chExt cx="1360884" cy="415324"/>
            </a:xfrm>
          </p:grpSpPr>
          <p:sp>
            <p:nvSpPr>
              <p:cNvPr id="23" name="Rectangle 22"/>
              <p:cNvSpPr/>
              <p:nvPr userDrawn="1"/>
            </p:nvSpPr>
            <p:spPr>
              <a:xfrm>
                <a:off x="9258894" y="1303870"/>
                <a:ext cx="657225" cy="41532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9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21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229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" name="Rectangle 23"/>
              <p:cNvSpPr/>
              <p:nvPr userDrawn="1"/>
            </p:nvSpPr>
            <p:spPr>
              <a:xfrm>
                <a:off x="9962553" y="1303870"/>
                <a:ext cx="657225" cy="415324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2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4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50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Group 48"/>
            <p:cNvGrpSpPr/>
            <p:nvPr userDrawn="1"/>
          </p:nvGrpSpPr>
          <p:grpSpPr>
            <a:xfrm>
              <a:off x="9258894" y="2069703"/>
              <a:ext cx="1360884" cy="415324"/>
              <a:chOff x="9258894" y="1759330"/>
              <a:chExt cx="1360884" cy="415324"/>
            </a:xfrm>
          </p:grpSpPr>
          <p:sp>
            <p:nvSpPr>
              <p:cNvPr id="25" name="Rectangle 24"/>
              <p:cNvSpPr/>
              <p:nvPr userDrawn="1"/>
            </p:nvSpPr>
            <p:spPr>
              <a:xfrm>
                <a:off x="9258894" y="1759330"/>
                <a:ext cx="657225" cy="415324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68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6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37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" name="Rectangle 25"/>
              <p:cNvSpPr/>
              <p:nvPr userDrawn="1"/>
            </p:nvSpPr>
            <p:spPr>
              <a:xfrm>
                <a:off x="9962553" y="1759330"/>
                <a:ext cx="657225" cy="415324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14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13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35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Group 47"/>
            <p:cNvGrpSpPr/>
            <p:nvPr userDrawn="1"/>
          </p:nvGrpSpPr>
          <p:grpSpPr>
            <a:xfrm>
              <a:off x="9258894" y="2547837"/>
              <a:ext cx="1360884" cy="415324"/>
              <a:chOff x="9258894" y="2220306"/>
              <a:chExt cx="1360884" cy="415324"/>
            </a:xfrm>
          </p:grpSpPr>
          <p:sp>
            <p:nvSpPr>
              <p:cNvPr id="27" name="Rectangle 26"/>
              <p:cNvSpPr/>
              <p:nvPr userDrawn="1"/>
            </p:nvSpPr>
            <p:spPr>
              <a:xfrm>
                <a:off x="9258894" y="2220306"/>
                <a:ext cx="657225" cy="415324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25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6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23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" name="Rectangle 27"/>
              <p:cNvSpPr/>
              <p:nvPr userDrawn="1"/>
            </p:nvSpPr>
            <p:spPr>
              <a:xfrm>
                <a:off x="9962553" y="2220306"/>
                <a:ext cx="657225" cy="415324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5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3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09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Group 46"/>
            <p:cNvGrpSpPr/>
            <p:nvPr userDrawn="1"/>
          </p:nvGrpSpPr>
          <p:grpSpPr>
            <a:xfrm>
              <a:off x="9258894" y="3025971"/>
              <a:ext cx="1360884" cy="415324"/>
              <a:chOff x="9258894" y="2681282"/>
              <a:chExt cx="1360884" cy="415324"/>
            </a:xfrm>
          </p:grpSpPr>
          <p:sp>
            <p:nvSpPr>
              <p:cNvPr id="29" name="Rectangle 28"/>
              <p:cNvSpPr/>
              <p:nvPr userDrawn="1"/>
            </p:nvSpPr>
            <p:spPr>
              <a:xfrm>
                <a:off x="9258894" y="2681282"/>
                <a:ext cx="657225" cy="415324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23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9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64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" name="Rectangle 29"/>
              <p:cNvSpPr/>
              <p:nvPr userDrawn="1"/>
            </p:nvSpPr>
            <p:spPr>
              <a:xfrm>
                <a:off x="9962553" y="2681282"/>
                <a:ext cx="657225" cy="415324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5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2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17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Group 45"/>
            <p:cNvGrpSpPr/>
            <p:nvPr userDrawn="1"/>
          </p:nvGrpSpPr>
          <p:grpSpPr>
            <a:xfrm>
              <a:off x="9258894" y="3504105"/>
              <a:ext cx="1360884" cy="415324"/>
              <a:chOff x="9258894" y="3142258"/>
              <a:chExt cx="1360884" cy="415324"/>
            </a:xfrm>
          </p:grpSpPr>
          <p:sp>
            <p:nvSpPr>
              <p:cNvPr id="37" name="Rectangle 36"/>
              <p:cNvSpPr/>
              <p:nvPr userDrawn="1"/>
            </p:nvSpPr>
            <p:spPr>
              <a:xfrm>
                <a:off x="9258894" y="3142258"/>
                <a:ext cx="657225" cy="41532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4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4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42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Rectangle 37"/>
              <p:cNvSpPr/>
              <p:nvPr userDrawn="1"/>
            </p:nvSpPr>
            <p:spPr>
              <a:xfrm>
                <a:off x="9962553" y="3142258"/>
                <a:ext cx="657225" cy="415324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1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1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17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Group 44"/>
            <p:cNvGrpSpPr/>
            <p:nvPr userDrawn="1"/>
          </p:nvGrpSpPr>
          <p:grpSpPr>
            <a:xfrm>
              <a:off x="9258894" y="3982239"/>
              <a:ext cx="1360884" cy="415324"/>
              <a:chOff x="9258894" y="3603234"/>
              <a:chExt cx="1360884" cy="415324"/>
            </a:xfrm>
          </p:grpSpPr>
          <p:sp>
            <p:nvSpPr>
              <p:cNvPr id="39" name="Rectangle 38"/>
              <p:cNvSpPr/>
              <p:nvPr userDrawn="1"/>
            </p:nvSpPr>
            <p:spPr>
              <a:xfrm>
                <a:off x="9258894" y="3603234"/>
                <a:ext cx="657225" cy="415324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19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19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191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Rectangle 39"/>
              <p:cNvSpPr/>
              <p:nvPr userDrawn="1"/>
            </p:nvSpPr>
            <p:spPr>
              <a:xfrm>
                <a:off x="9962553" y="3603234"/>
                <a:ext cx="657225" cy="415324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166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66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66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44" name="Group 43"/>
            <p:cNvGrpSpPr/>
            <p:nvPr userDrawn="1"/>
          </p:nvGrpSpPr>
          <p:grpSpPr>
            <a:xfrm>
              <a:off x="9258894" y="4460376"/>
              <a:ext cx="1360884" cy="415324"/>
              <a:chOff x="9258894" y="4064210"/>
              <a:chExt cx="1360884" cy="415324"/>
            </a:xfrm>
          </p:grpSpPr>
          <p:sp>
            <p:nvSpPr>
              <p:cNvPr id="42" name="Rectangle 41"/>
              <p:cNvSpPr/>
              <p:nvPr userDrawn="1"/>
            </p:nvSpPr>
            <p:spPr>
              <a:xfrm>
                <a:off x="9258894" y="4064210"/>
                <a:ext cx="657225" cy="415324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12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2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27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Rectangle 42"/>
              <p:cNvSpPr/>
              <p:nvPr userDrawn="1"/>
            </p:nvSpPr>
            <p:spPr>
              <a:xfrm>
                <a:off x="9962553" y="4064210"/>
                <a:ext cx="657225" cy="415324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0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0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00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643924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2" r:id="rId11"/>
    <p:sldLayoutId id="2147483677" r:id="rId12"/>
    <p:sldLayoutId id="2147483678" r:id="rId1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103" rtl="0" eaLnBrk="1" latinLnBrk="0" hangingPunct="1">
        <a:lnSpc>
          <a:spcPct val="95000"/>
        </a:lnSpc>
        <a:spcBef>
          <a:spcPct val="0"/>
        </a:spcBef>
        <a:buNone/>
        <a:defRPr sz="2666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103" rtl="0" eaLnBrk="1" latinLnBrk="0" hangingPunct="1">
        <a:lnSpc>
          <a:spcPct val="90000"/>
        </a:lnSpc>
        <a:spcBef>
          <a:spcPts val="1000"/>
        </a:spcBef>
        <a:buFontTx/>
        <a:buNone/>
        <a:defRPr sz="2133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80328" indent="-243338" algn="l" defTabSz="914103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717317" indent="-236990" algn="l" defTabSz="914103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954307" indent="-236990" algn="l" defTabSz="914103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1197644" indent="-243338" algn="l" defTabSz="914103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513783" indent="-228526" algn="l" defTabSz="9141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834" indent="-228526" algn="l" defTabSz="9141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886" indent="-228526" algn="l" defTabSz="9141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937" indent="-228526" algn="l" defTabSz="9141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51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03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54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06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257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08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360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411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84">
          <p15:clr>
            <a:srgbClr val="F26B43"/>
          </p15:clr>
        </p15:guide>
        <p15:guide id="2" pos="5579">
          <p15:clr>
            <a:srgbClr val="F26B43"/>
          </p15:clr>
        </p15:guide>
        <p15:guide id="3" orient="horz" pos="182">
          <p15:clr>
            <a:srgbClr val="F26B43"/>
          </p15:clr>
        </p15:guide>
        <p15:guide id="4" orient="horz" pos="3127">
          <p15:clr>
            <a:srgbClr val="F26B43"/>
          </p15:clr>
        </p15:guide>
        <p15:guide id="5" orient="horz" pos="3015">
          <p15:clr>
            <a:srgbClr val="F26B43"/>
          </p15:clr>
        </p15:guide>
        <p15:guide id="6" orient="horz" pos="2823">
          <p15:clr>
            <a:srgbClr val="F26B43"/>
          </p15:clr>
        </p15:guide>
        <p15:guide id="7" orient="horz" pos="532">
          <p15:clr>
            <a:srgbClr val="F26B43"/>
          </p15:clr>
        </p15:guide>
        <p15:guide id="8" orient="horz" pos="713">
          <p15:clr>
            <a:srgbClr val="F26B43"/>
          </p15:clr>
        </p15:guide>
        <p15:guide id="9" pos="1905">
          <p15:clr>
            <a:srgbClr val="F26B43"/>
          </p15:clr>
        </p15:guide>
        <p15:guide id="10" pos="2020">
          <p15:clr>
            <a:srgbClr val="F26B43"/>
          </p15:clr>
        </p15:guide>
        <p15:guide id="11" pos="3736">
          <p15:clr>
            <a:srgbClr val="F26B43"/>
          </p15:clr>
        </p15:guide>
        <p15:guide id="12" pos="3862">
          <p15:clr>
            <a:srgbClr val="F26B43"/>
          </p15:clr>
        </p15:guide>
        <p15:guide id="13" pos="2822">
          <p15:clr>
            <a:srgbClr val="F26B43"/>
          </p15:clr>
        </p15:guide>
        <p15:guide id="14" pos="2938">
          <p15:clr>
            <a:srgbClr val="F26B43"/>
          </p15:clr>
        </p15:guide>
        <p15:guide id="15" pos="988">
          <p15:clr>
            <a:srgbClr val="F26B43"/>
          </p15:clr>
        </p15:guide>
        <p15:guide id="16" pos="1098">
          <p15:clr>
            <a:srgbClr val="F26B43"/>
          </p15:clr>
        </p15:guide>
        <p15:guide id="17" pos="4770">
          <p15:clr>
            <a:srgbClr val="F26B43"/>
          </p15:clr>
        </p15:guide>
        <p15:guide id="18" pos="4662">
          <p15:clr>
            <a:srgbClr val="F26B43"/>
          </p15:clr>
        </p15:guide>
        <p15:guide id="19" orient="horz" pos="177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35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29.png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1"/>
          <p:cNvSpPr txBox="1">
            <a:spLocks/>
          </p:cNvSpPr>
          <p:nvPr/>
        </p:nvSpPr>
        <p:spPr>
          <a:xfrm>
            <a:off x="511174" y="2679186"/>
            <a:ext cx="11330214" cy="189736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000" dirty="0" smtClean="0">
                <a:latin typeface="Arial Black" panose="020B0A04020102020204" pitchFamily="34" charset="0"/>
              </a:rPr>
              <a:t>«Организация Центра внедрения цифровых </a:t>
            </a:r>
            <a:r>
              <a:rPr lang="ru-RU" sz="2000" dirty="0">
                <a:latin typeface="Arial Black" panose="020B0A04020102020204" pitchFamily="34" charset="0"/>
              </a:rPr>
              <a:t>сервисов </a:t>
            </a:r>
            <a:endParaRPr lang="ru-RU" sz="2000" dirty="0" smtClean="0">
              <a:latin typeface="Arial Black" panose="020B0A04020102020204" pitchFamily="34" charset="0"/>
            </a:endParaRPr>
          </a:p>
          <a:p>
            <a:pPr>
              <a:lnSpc>
                <a:spcPct val="100000"/>
              </a:lnSpc>
            </a:pPr>
            <a:r>
              <a:rPr lang="ru-RU" sz="2000" dirty="0" smtClean="0">
                <a:latin typeface="Arial Black" panose="020B0A04020102020204" pitchFamily="34" charset="0"/>
              </a:rPr>
              <a:t>для корпоративных клиентов Саратовского </a:t>
            </a:r>
            <a:r>
              <a:rPr lang="ru-RU" sz="2000" dirty="0">
                <a:latin typeface="Arial Black" panose="020B0A04020102020204" pitchFamily="34" charset="0"/>
              </a:rPr>
              <a:t>регионального отделения </a:t>
            </a:r>
            <a:endParaRPr lang="ru-RU" sz="2000" dirty="0" smtClean="0">
              <a:latin typeface="Arial Black" panose="020B0A04020102020204" pitchFamily="34" charset="0"/>
            </a:endParaRPr>
          </a:p>
          <a:p>
            <a:pPr>
              <a:lnSpc>
                <a:spcPct val="100000"/>
              </a:lnSpc>
            </a:pPr>
            <a:r>
              <a:rPr lang="ru-RU" sz="2000" dirty="0" smtClean="0">
                <a:latin typeface="Arial Black" panose="020B0A04020102020204" pitchFamily="34" charset="0"/>
              </a:rPr>
              <a:t>Поволжского филиала ПАО </a:t>
            </a:r>
            <a:r>
              <a:rPr lang="ru-RU" sz="2000" dirty="0">
                <a:latin typeface="Arial Black" panose="020B0A04020102020204" pitchFamily="34" charset="0"/>
              </a:rPr>
              <a:t>«МегаФон»</a:t>
            </a:r>
            <a:endParaRPr lang="ru-RU" sz="2000" dirty="0" smtClean="0">
              <a:latin typeface="Arial Black" panose="020B0A04020102020204" pitchFamily="34" charset="0"/>
            </a:endParaRPr>
          </a:p>
        </p:txBody>
      </p:sp>
      <p:grpSp>
        <p:nvGrpSpPr>
          <p:cNvPr id="6" name="Группа 5"/>
          <p:cNvGrpSpPr/>
          <p:nvPr/>
        </p:nvGrpSpPr>
        <p:grpSpPr>
          <a:xfrm rot="10800000">
            <a:off x="511175" y="692150"/>
            <a:ext cx="3799609" cy="1188244"/>
            <a:chOff x="11032332" y="870068"/>
            <a:chExt cx="895040" cy="283368"/>
          </a:xfrm>
        </p:grpSpPr>
        <p:sp>
          <p:nvSpPr>
            <p:cNvPr id="7" name="Овал 6"/>
            <p:cNvSpPr/>
            <p:nvPr/>
          </p:nvSpPr>
          <p:spPr>
            <a:xfrm>
              <a:off x="11032332" y="870068"/>
              <a:ext cx="283368" cy="283368"/>
            </a:xfrm>
            <a:prstGeom prst="ellipse">
              <a:avLst/>
            </a:prstGeom>
            <a:solidFill>
              <a:srgbClr val="7319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8" name="Овал 7"/>
            <p:cNvSpPr/>
            <p:nvPr/>
          </p:nvSpPr>
          <p:spPr>
            <a:xfrm>
              <a:off x="11644004" y="870068"/>
              <a:ext cx="283368" cy="283368"/>
            </a:xfrm>
            <a:prstGeom prst="ellipse">
              <a:avLst/>
            </a:prstGeom>
            <a:solidFill>
              <a:srgbClr val="00B9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731982"/>
                </a:solidFill>
              </a:endParaRPr>
            </a:p>
          </p:txBody>
        </p:sp>
        <p:sp>
          <p:nvSpPr>
            <p:cNvPr id="9" name="Овал 8"/>
            <p:cNvSpPr/>
            <p:nvPr/>
          </p:nvSpPr>
          <p:spPr>
            <a:xfrm>
              <a:off x="11338168" y="870068"/>
              <a:ext cx="283368" cy="283368"/>
            </a:xfrm>
            <a:prstGeom prst="ellipse">
              <a:avLst/>
            </a:prstGeom>
            <a:solidFill>
              <a:srgbClr val="00B9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BD42C2-9CC4-4324-AC1B-3D1B3C09CF98}" type="slidenum">
              <a:rPr lang="ru-RU" smtClean="0"/>
              <a:t>1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6768" y="5948026"/>
            <a:ext cx="2312861" cy="735139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60344" y="4253492"/>
            <a:ext cx="1085741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Автор проекта:</a:t>
            </a:r>
          </a:p>
          <a:p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Башкевич Андрей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Витальевич</a:t>
            </a:r>
          </a:p>
          <a:p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Научные руководители:</a:t>
            </a:r>
          </a:p>
          <a:p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орсаков Юрий Александрович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андидат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философских наук,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оцент</a:t>
            </a:r>
          </a:p>
          <a:p>
            <a:endParaRPr lang="ru-RU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ондратов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Дмитрий Вячеславович</a:t>
            </a:r>
          </a:p>
          <a:p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октор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физико-математических наук, заведующий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афедрой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5142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1"/>
          <p:cNvSpPr txBox="1">
            <a:spLocks/>
          </p:cNvSpPr>
          <p:nvPr/>
        </p:nvSpPr>
        <p:spPr>
          <a:xfrm>
            <a:off x="579684" y="384714"/>
            <a:ext cx="11754206" cy="69522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3800" dirty="0" smtClean="0">
                <a:solidFill>
                  <a:schemeClr val="accent2"/>
                </a:solidFill>
                <a:latin typeface="Arial Black" panose="020B0A04020102020204" pitchFamily="34" charset="0"/>
              </a:rPr>
              <a:t>Проблема</a:t>
            </a:r>
            <a:r>
              <a:rPr lang="en-US" sz="3800" dirty="0" smtClean="0">
                <a:solidFill>
                  <a:schemeClr val="accent2"/>
                </a:solidFill>
                <a:latin typeface="Arial Black" panose="020B0A04020102020204" pitchFamily="34" charset="0"/>
              </a:rPr>
              <a:t> </a:t>
            </a:r>
            <a:r>
              <a:rPr lang="ru-RU" sz="3800" dirty="0" smtClean="0">
                <a:solidFill>
                  <a:schemeClr val="accent2"/>
                </a:solidFill>
                <a:latin typeface="Arial Black" panose="020B0A04020102020204" pitchFamily="34" charset="0"/>
              </a:rPr>
              <a:t>развития цифровых проектов </a:t>
            </a:r>
            <a:endParaRPr lang="ru-RU" sz="3800" dirty="0">
              <a:solidFill>
                <a:schemeClr val="accent2"/>
              </a:solidFill>
              <a:latin typeface="Arial Black" panose="020B0A040201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BD42C2-9CC4-4324-AC1B-3D1B3C09CF98}" type="slidenum">
              <a:rPr lang="ru-RU" smtClean="0"/>
              <a:t>10</a:t>
            </a:fld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288487" y="1335038"/>
            <a:ext cx="5140146" cy="49194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Aft>
                <a:spcPts val="0"/>
              </a:spcAft>
            </a:pPr>
            <a:r>
              <a:rPr lang="ru-RU" sz="2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ызов у Клиента</a:t>
            </a: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ru-RU" sz="2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. Наличие потребности в модернизации бизнеса и внедрении цифровых решений.</a:t>
            </a: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ru-RU" sz="2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. Проблема </a:t>
            </a:r>
            <a:r>
              <a:rPr lang="ru-RU" sz="24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ыбора </a:t>
            </a:r>
            <a:r>
              <a:rPr lang="ru-RU" sz="2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ешения.</a:t>
            </a:r>
            <a:endParaRPr lang="ru-RU" sz="2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ru-RU" sz="2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. Риск реализации/ Опыт «0».</a:t>
            </a:r>
            <a:endParaRPr lang="ru-RU" sz="2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ru-RU" sz="2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4. Отсутствие инвестиции.</a:t>
            </a: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ru-RU" sz="2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5. Квалификация персонала.</a:t>
            </a:r>
            <a:endParaRPr lang="ru-RU" sz="2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08940">
              <a:lnSpc>
                <a:spcPct val="107000"/>
              </a:lnSpc>
              <a:spcAft>
                <a:spcPts val="800"/>
              </a:spcAft>
            </a:pPr>
            <a:r>
              <a:rPr lang="ru-RU" sz="24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endParaRPr lang="ru-RU" sz="24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6477324" y="1041023"/>
            <a:ext cx="5543569" cy="58169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Aft>
                <a:spcPts val="0"/>
              </a:spcAft>
            </a:pPr>
            <a:r>
              <a:rPr lang="ru-RU" sz="2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твет МегаФона</a:t>
            </a:r>
          </a:p>
          <a:p>
            <a:pPr marL="457200" indent="-457200">
              <a:lnSpc>
                <a:spcPct val="150000"/>
              </a:lnSpc>
              <a:spcAft>
                <a:spcPts val="0"/>
              </a:spcAft>
              <a:buAutoNum type="arabicPeriod"/>
            </a:pPr>
            <a:r>
              <a:rPr lang="ru-RU" sz="2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ртфель Лучших цифровых продуктов на рынке. </a:t>
            </a:r>
          </a:p>
          <a:p>
            <a:pPr marL="457200" indent="-457200">
              <a:lnSpc>
                <a:spcPct val="150000"/>
              </a:lnSpc>
              <a:spcAft>
                <a:spcPts val="0"/>
              </a:spcAft>
              <a:buAutoNum type="arabicPeriod"/>
            </a:pPr>
            <a:r>
              <a:rPr lang="ru-RU" sz="2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илотирование и внедрение.</a:t>
            </a:r>
          </a:p>
          <a:p>
            <a:pPr marL="457200" indent="-457200">
              <a:lnSpc>
                <a:spcPct val="150000"/>
              </a:lnSpc>
              <a:spcAft>
                <a:spcPts val="0"/>
              </a:spcAft>
              <a:buAutoNum type="arabicPeriod"/>
            </a:pPr>
            <a:r>
              <a:rPr lang="ru-RU" sz="2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ехнологии / Инвестиции.</a:t>
            </a:r>
          </a:p>
          <a:p>
            <a:pPr marL="457200" indent="-457200">
              <a:lnSpc>
                <a:spcPct val="150000"/>
              </a:lnSpc>
              <a:spcAft>
                <a:spcPts val="0"/>
              </a:spcAft>
              <a:buAutoNum type="arabicPeriod"/>
            </a:pPr>
            <a:r>
              <a:rPr lang="ru-RU" sz="2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валифицированный персонал.</a:t>
            </a:r>
            <a:endParaRPr lang="ru-RU" sz="2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57200" indent="-457200">
              <a:lnSpc>
                <a:spcPct val="150000"/>
              </a:lnSpc>
              <a:spcAft>
                <a:spcPts val="0"/>
              </a:spcAft>
              <a:buAutoNum type="arabicPeriod"/>
            </a:pPr>
            <a:r>
              <a:rPr lang="ru-RU" sz="2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оверка </a:t>
            </a:r>
            <a:r>
              <a:rPr lang="ru-RU" sz="24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ешении на </a:t>
            </a:r>
            <a:r>
              <a:rPr lang="ru-RU" sz="2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актике.</a:t>
            </a:r>
            <a:endParaRPr lang="ru-RU" sz="2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57200" indent="-457200">
              <a:lnSpc>
                <a:spcPct val="150000"/>
              </a:lnSpc>
              <a:spcAft>
                <a:spcPts val="0"/>
              </a:spcAft>
              <a:buAutoNum type="arabicPeriod"/>
            </a:pPr>
            <a:r>
              <a:rPr lang="ru-RU" sz="2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ейтинг Подрядчиков.</a:t>
            </a:r>
            <a:endParaRPr lang="ru-RU" sz="2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57200" indent="-457200">
              <a:lnSpc>
                <a:spcPct val="150000"/>
              </a:lnSpc>
              <a:spcAft>
                <a:spcPts val="0"/>
              </a:spcAft>
              <a:buAutoNum type="arabicPeriod"/>
            </a:pPr>
            <a:r>
              <a:rPr lang="ru-RU" sz="2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ервисная модель.</a:t>
            </a:r>
            <a:endParaRPr lang="ru-RU" sz="2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spcAft>
                <a:spcPts val="0"/>
              </a:spcAft>
            </a:pPr>
            <a:endParaRPr lang="ru-RU" sz="2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ru-RU" sz="2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1048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24458" y="608432"/>
            <a:ext cx="10867869" cy="766398"/>
          </a:xfrm>
        </p:spPr>
        <p:txBody>
          <a:bodyPr/>
          <a:lstStyle/>
          <a:p>
            <a:r>
              <a:rPr lang="ru-RU" dirty="0" smtClean="0">
                <a:solidFill>
                  <a:schemeClr val="accent2"/>
                </a:solidFill>
                <a:latin typeface="Arial Black" panose="020B0A04020102020204" pitchFamily="34" charset="0"/>
              </a:rPr>
              <a:t>Освоение нового рынка</a:t>
            </a:r>
            <a:endParaRPr lang="ru-RU" dirty="0">
              <a:solidFill>
                <a:schemeClr val="accent2"/>
              </a:solidFill>
              <a:latin typeface="Arial Black" panose="020B0A04020102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824459" y="1499016"/>
            <a:ext cx="11122701" cy="4721901"/>
          </a:xfrm>
        </p:spPr>
        <p:txBody>
          <a:bodyPr/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Цель работы – повышение </a:t>
            </a:r>
            <a:r>
              <a:rPr lang="ru-RU" sz="2000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курентоспособности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ПАО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«МегаФон»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путем создания системы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продаж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интеграционных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услуг (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ИКТ-решений 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и цифровых сервисов)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на основе Центра внедрения цифровых решений для корпоративных клиентов Саратовского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регионального отделения Поволжского филиала ПАО «МегаФон». </a:t>
            </a:r>
            <a:endParaRPr lang="ru-RU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BD42C2-9CC4-4324-AC1B-3D1B3C09CF98}" type="slidenum">
              <a:rPr lang="ru-RU" smtClean="0"/>
              <a:t>11</a:t>
            </a:fld>
            <a:endParaRPr lang="ru-RU"/>
          </a:p>
        </p:txBody>
      </p:sp>
      <p:sp>
        <p:nvSpPr>
          <p:cNvPr id="9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711200" y="6379782"/>
            <a:ext cx="8023032" cy="238293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712319" y="3476296"/>
            <a:ext cx="2607441" cy="1371600"/>
          </a:xfrm>
          <a:prstGeom prst="rect">
            <a:avLst/>
          </a:prstGeom>
          <a:solidFill>
            <a:srgbClr val="8AFA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 anchorCtr="0">
            <a:noAutofit/>
          </a:bodyPr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раз МегаФона как игрока на рынке Интеграционных услуг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3431900" y="4847896"/>
            <a:ext cx="2607441" cy="1371600"/>
          </a:xfrm>
          <a:prstGeom prst="rect">
            <a:avLst/>
          </a:prstGeom>
          <a:solidFill>
            <a:srgbClr val="8AFA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 anchorCtr="0">
            <a:noAutofit/>
          </a:bodyPr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ая выручка в сегменте В2Х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6151481" y="3524909"/>
            <a:ext cx="2607441" cy="1371600"/>
          </a:xfrm>
          <a:prstGeom prst="rect">
            <a:avLst/>
          </a:prstGeom>
          <a:solidFill>
            <a:srgbClr val="8AFA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 anchorCtr="0">
            <a:noAutofit/>
          </a:bodyPr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ые партнерства с Поставщиками и возможности для МегаФона 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8983202" y="4847896"/>
            <a:ext cx="2607441" cy="1371600"/>
          </a:xfrm>
          <a:prstGeom prst="rect">
            <a:avLst/>
          </a:prstGeom>
          <a:solidFill>
            <a:srgbClr val="8AFA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 anchorCtr="0">
            <a:noAutofit/>
          </a:bodyPr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Клиентов и создание у них условий для внедрения цифровых сервисов </a:t>
            </a:r>
          </a:p>
        </p:txBody>
      </p:sp>
    </p:spTree>
    <p:extLst>
      <p:ext uri="{BB962C8B-B14F-4D97-AF65-F5344CB8AC3E}">
        <p14:creationId xmlns:p14="http://schemas.microsoft.com/office/powerpoint/2010/main" val="3253144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24458" y="608432"/>
            <a:ext cx="10867869" cy="766398"/>
          </a:xfrm>
        </p:spPr>
        <p:txBody>
          <a:bodyPr/>
          <a:lstStyle/>
          <a:p>
            <a:r>
              <a:rPr lang="ru-RU" sz="4000" dirty="0">
                <a:solidFill>
                  <a:schemeClr val="accent2"/>
                </a:solidFill>
                <a:latin typeface="Arial Black" panose="020B0A04020102020204" pitchFamily="34" charset="0"/>
              </a:rPr>
              <a:t>Матрица власти/интересов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824459" y="1499016"/>
            <a:ext cx="11122701" cy="4721901"/>
          </a:xfrm>
        </p:spPr>
        <p:txBody>
          <a:bodyPr/>
          <a:lstStyle/>
          <a:p>
            <a:pPr>
              <a:lnSpc>
                <a:spcPct val="150000"/>
              </a:lnSpc>
              <a:spcBef>
                <a:spcPts val="0"/>
              </a:spcBef>
            </a:pPr>
            <a:endParaRPr lang="ru-RU" dirty="0" smtClean="0"/>
          </a:p>
          <a:p>
            <a:pPr>
              <a:lnSpc>
                <a:spcPct val="150000"/>
              </a:lnSpc>
              <a:spcBef>
                <a:spcPts val="0"/>
              </a:spcBef>
            </a:pP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BD42C2-9CC4-4324-AC1B-3D1B3C09CF98}" type="slidenum">
              <a:rPr lang="ru-RU" smtClean="0"/>
              <a:t>12</a:t>
            </a:fld>
            <a:endParaRPr lang="ru-RU"/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9256168"/>
              </p:ext>
            </p:extLst>
          </p:nvPr>
        </p:nvGraphicFramePr>
        <p:xfrm>
          <a:off x="618278" y="1631552"/>
          <a:ext cx="11280228" cy="40386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312979"/>
                <a:gridCol w="5967249"/>
              </a:tblGrid>
              <a:tr h="216942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сокий уровень власти, </a:t>
                      </a:r>
                      <a:endParaRPr lang="ru-RU" sz="2000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изкий </a:t>
                      </a:r>
                      <a:r>
                        <a:rPr lang="ru-RU" sz="2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ровень заинтересованности: </a:t>
                      </a:r>
                      <a:endParaRPr lang="ru-RU" sz="2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000" b="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уководители </a:t>
                      </a:r>
                      <a:r>
                        <a:rPr lang="ru-RU" sz="2000" b="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лиентов государственного </a:t>
                      </a:r>
                      <a:endParaRPr lang="ru-RU" sz="20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000" b="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егмента</a:t>
                      </a:r>
                      <a:endParaRPr lang="ru-RU" sz="20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сокий уровень власти, </a:t>
                      </a:r>
                      <a:endParaRPr lang="ru-RU" sz="2000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сокий </a:t>
                      </a:r>
                      <a:r>
                        <a:rPr lang="ru-RU" sz="2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ровень заинтересованности:</a:t>
                      </a:r>
                      <a:endParaRPr lang="ru-RU" sz="2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000" b="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уководители крупных корпоративных </a:t>
                      </a:r>
                      <a:r>
                        <a:rPr lang="ru-RU" sz="2000" b="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лиентов; </a:t>
                      </a:r>
                      <a:endParaRPr lang="ru-RU" sz="20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103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АО «МегаФон» Акционеры </a:t>
                      </a:r>
                      <a:r>
                        <a:rPr lang="ru-RU" sz="2000" b="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 </a:t>
                      </a:r>
                      <a:r>
                        <a:rPr lang="ru-RU" sz="2000" b="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п-менеджмент</a:t>
                      </a:r>
                      <a:endParaRPr lang="ru-RU" sz="20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</a:tr>
              <a:tr h="186917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изкий уровень власти, </a:t>
                      </a:r>
                      <a:endParaRPr lang="ru-RU" sz="2000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изкий </a:t>
                      </a:r>
                      <a:r>
                        <a:rPr lang="ru-RU" sz="2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ровень заинтересованности:</a:t>
                      </a:r>
                      <a:endParaRPr lang="ru-RU" sz="2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000" b="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трудники государственных </a:t>
                      </a:r>
                      <a:r>
                        <a:rPr lang="ru-RU" sz="2000" b="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лиентов;</a:t>
                      </a:r>
                      <a:endParaRPr lang="ru-RU" sz="20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000" b="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трудники корпоративных Клиентов</a:t>
                      </a:r>
                      <a:endParaRPr lang="ru-RU" sz="20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сокий уровень заинтересованности, низкий уровень власти:</a:t>
                      </a:r>
                      <a:endParaRPr lang="ru-RU" sz="2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инистерство цифрового развития и </a:t>
                      </a:r>
                      <a:r>
                        <a:rPr lang="ru-RU" sz="2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вязи, </a:t>
                      </a:r>
                      <a:endParaRPr lang="ru-RU" sz="2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АО «МегаФон» </a:t>
                      </a:r>
                      <a:r>
                        <a:rPr lang="ru-RU" sz="2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уководство и сотрудники </a:t>
                      </a:r>
                      <a:r>
                        <a:rPr lang="ru-RU" sz="2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.</a:t>
                      </a:r>
                      <a:endParaRPr lang="ru-RU" sz="2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</a:tr>
            </a:tbl>
          </a:graphicData>
        </a:graphic>
      </p:graphicFrame>
      <p:cxnSp>
        <p:nvCxnSpPr>
          <p:cNvPr id="7" name="Прямая соединительная линия 6"/>
          <p:cNvCxnSpPr/>
          <p:nvPr/>
        </p:nvCxnSpPr>
        <p:spPr>
          <a:xfrm>
            <a:off x="5872899" y="1631552"/>
            <a:ext cx="25730" cy="4537706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>
            <a:stCxn id="12" idx="1"/>
            <a:endCxn id="12" idx="3"/>
          </p:cNvCxnSpPr>
          <p:nvPr/>
        </p:nvCxnSpPr>
        <p:spPr>
          <a:xfrm>
            <a:off x="618278" y="3650852"/>
            <a:ext cx="11280228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0028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344118" y="297904"/>
            <a:ext cx="9144000" cy="796378"/>
          </a:xfrm>
        </p:spPr>
        <p:txBody>
          <a:bodyPr/>
          <a:lstStyle/>
          <a:p>
            <a:r>
              <a:rPr lang="en-US" dirty="0" smtClean="0">
                <a:solidFill>
                  <a:schemeClr val="accent2"/>
                </a:solidFill>
                <a:latin typeface="Arial Black" panose="020B0A04020102020204" pitchFamily="34" charset="0"/>
              </a:rPr>
              <a:t>SWOT-</a:t>
            </a:r>
            <a:r>
              <a:rPr lang="ru-RU" dirty="0" smtClean="0">
                <a:solidFill>
                  <a:schemeClr val="accent2"/>
                </a:solidFill>
                <a:latin typeface="Arial Black" panose="020B0A04020102020204" pitchFamily="34" charset="0"/>
              </a:rPr>
              <a:t>анализ</a:t>
            </a:r>
            <a:endParaRPr lang="ru-RU" dirty="0">
              <a:solidFill>
                <a:schemeClr val="accent2"/>
              </a:solidFill>
              <a:latin typeface="Arial Black" panose="020B0A04020102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24656" y="1094283"/>
            <a:ext cx="11002780" cy="4916774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BD42C2-9CC4-4324-AC1B-3D1B3C09CF98}" type="slidenum">
              <a:rPr lang="ru-RU" smtClean="0"/>
              <a:t>13</a:t>
            </a:fld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841607"/>
              </p:ext>
            </p:extLst>
          </p:nvPr>
        </p:nvGraphicFramePr>
        <p:xfrm>
          <a:off x="344774" y="1094282"/>
          <a:ext cx="11361123" cy="51968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426933"/>
                <a:gridCol w="4055872"/>
                <a:gridCol w="3878318"/>
              </a:tblGrid>
              <a:tr h="152279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АО</a:t>
                      </a:r>
                      <a:r>
                        <a:rPr lang="ru-RU" sz="1100" baseline="0" dirty="0" smtClean="0"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МегаФон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aseline="0" dirty="0" smtClean="0"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ынок ИКТ и цифровых сервисов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7344" marR="67344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 – возможности</a:t>
                      </a:r>
                    </a:p>
                    <a:p>
                      <a:pPr marL="171450" indent="-171450" algn="just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витие </a:t>
                      </a: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хнологии </a:t>
                      </a:r>
                      <a:r>
                        <a:rPr lang="ru-RU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вязи;  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71450" indent="-171450" algn="just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недрение </a:t>
                      </a: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овых решений от </a:t>
                      </a:r>
                      <a:r>
                        <a:rPr lang="ru-RU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артнеров</a:t>
                      </a: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;</a:t>
                      </a:r>
                    </a:p>
                    <a:p>
                      <a:pPr marL="171450" indent="-171450" algn="just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ст </a:t>
                      </a: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исла потребителей интернета за счет </a:t>
                      </a:r>
                      <a:r>
                        <a:rPr lang="ru-RU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тернета </a:t>
                      </a: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ещей;</a:t>
                      </a:r>
                    </a:p>
                    <a:p>
                      <a:pPr marL="171450" indent="-171450" algn="just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величение </a:t>
                      </a: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требления интернета за счет онлайн сервисов;</a:t>
                      </a:r>
                    </a:p>
                    <a:p>
                      <a:pPr marL="171450" indent="-1714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овые </a:t>
                      </a: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ынки сбыта + география (страны СНГ);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7344" marR="67344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 – угрозы</a:t>
                      </a:r>
                    </a:p>
                    <a:p>
                      <a:pPr marL="171450" indent="-1714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нижение </a:t>
                      </a: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требления классических услуг связи (голос, смс);</a:t>
                      </a:r>
                    </a:p>
                    <a:p>
                      <a:pPr marL="171450" indent="-1714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нижение </a:t>
                      </a: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ходов абонентов, снижение бюджетов на связь;</a:t>
                      </a:r>
                    </a:p>
                    <a:p>
                      <a:pPr marL="171450" indent="-1714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ст </a:t>
                      </a: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чества сети конкурентов за счет опережающих инвестиции</a:t>
                      </a:r>
                      <a:r>
                        <a:rPr lang="ru-RU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;</a:t>
                      </a:r>
                    </a:p>
                    <a:p>
                      <a:pPr marL="171450" indent="-1714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нкуренция со стороны альтернативных сервисов</a:t>
                      </a:r>
                    </a:p>
                    <a:p>
                      <a:pPr marL="171450" indent="-1714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сударственное</a:t>
                      </a:r>
                      <a:r>
                        <a:rPr lang="ru-RU" sz="1100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регулирование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7344" marR="67344" marT="0" marB="0" anchor="ctr"/>
                </a:tc>
              </a:tr>
              <a:tr h="199575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 – сильные стороны:</a:t>
                      </a:r>
                    </a:p>
                    <a:p>
                      <a:pPr marL="171450" indent="-1714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фессиональная </a:t>
                      </a: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анда; </a:t>
                      </a:r>
                    </a:p>
                    <a:p>
                      <a:pPr marL="171450" indent="-1714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упнейшая </a:t>
                      </a: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ть связи с высоким качеством покрытия;</a:t>
                      </a:r>
                    </a:p>
                    <a:p>
                      <a:pPr marL="171450" indent="-1714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ренд </a:t>
                      </a: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 высокой степенью доверия Клиентов;</a:t>
                      </a:r>
                    </a:p>
                    <a:p>
                      <a:pPr marL="171450" indent="-1714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ирокая </a:t>
                      </a: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инейка дополнительных сервисов для всех сегментов рынка;</a:t>
                      </a:r>
                    </a:p>
                    <a:p>
                      <a:pPr marL="171450" indent="-1714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вестиционные </a:t>
                      </a: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зможности для модернизации и развития сети;</a:t>
                      </a:r>
                    </a:p>
                    <a:p>
                      <a:pPr marL="171450" indent="-1714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спользование </a:t>
                      </a: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зможностей </a:t>
                      </a:r>
                      <a:r>
                        <a:rPr lang="ru-RU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К «ИКС Холдинг» </a:t>
                      </a: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ля продуктов и сервисов;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7344" marR="67344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 – использование сильных сторон: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201295" algn="l"/>
                        </a:tabLst>
                      </a:pP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ложение продуктов и сервисов для Клиентов на базе новых технологий;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201295" algn="l"/>
                        </a:tabLst>
                      </a:pP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сширение набора услуг для бизнес-рынка за счет решений от ИКС-холдинга;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201295" algn="l"/>
                        </a:tabLst>
                      </a:pP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недрение уникальных услуг, отсутствующих у конкурентов;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201295" algn="l"/>
                        </a:tabLst>
                      </a:pP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сширение каналов обслуживания потребителей, за счет внедрения технологий;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Symbol" panose="05050102010706020507" pitchFamily="18" charset="2"/>
                        <a:buChar char=""/>
                        <a:tabLst>
                          <a:tab pos="201295" algn="l"/>
                        </a:tabLst>
                      </a:pPr>
                      <a:r>
                        <a:rPr lang="ru-RU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величение </a:t>
                      </a: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чек продаж услуг за счет внедрения саморегистрации абонентов.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7344" marR="67344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</a:t>
                      </a:r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</a:t>
                      </a: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окращение влияния угроз</a:t>
                      </a:r>
                    </a:p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tabLst>
                          <a:tab pos="198755" algn="l"/>
                        </a:tabLst>
                      </a:pP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сширение услуг и сервисов </a:t>
                      </a:r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</a:t>
                      </a: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</a:t>
                      </a: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технологий. </a:t>
                      </a:r>
                    </a:p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tabLst>
                          <a:tab pos="198755" algn="l"/>
                        </a:tabLst>
                      </a:pP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ст качества сети за счет опережающих инвестиций в инфраструктуру.</a:t>
                      </a:r>
                    </a:p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tabLst>
                          <a:tab pos="198755" algn="l"/>
                        </a:tabLst>
                      </a:pP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здание собственных сервисов Оператора для покрытия возникающих потребностей, (мессенджеров, </a:t>
                      </a:r>
                      <a:r>
                        <a:rPr lang="ru-R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идеочатов</a:t>
                      </a: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и других).</a:t>
                      </a:r>
                    </a:p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tabLst>
                          <a:tab pos="198755" algn="l"/>
                        </a:tabLst>
                      </a:pP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дажа оборудования для использования М2М решений Оператора.</a:t>
                      </a:r>
                    </a:p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tabLst>
                          <a:tab pos="198755" algn="l"/>
                        </a:tabLst>
                      </a:pP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говоры с производителями по </a:t>
                      </a:r>
                      <a:r>
                        <a:rPr lang="ru-R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стомизации</a:t>
                      </a: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борудования под </a:t>
                      </a:r>
                      <a:r>
                        <a:rPr lang="en-US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SIM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344" marR="67344" marT="0" marB="0"/>
                </a:tc>
              </a:tr>
              <a:tr h="117356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 – слабые стороны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201295" algn="l"/>
                        </a:tabLst>
                      </a:pPr>
                      <a:r>
                        <a:rPr lang="ru-RU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рифная </a:t>
                      </a: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литика;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201295" algn="l"/>
                        </a:tabLst>
                      </a:pPr>
                      <a:r>
                        <a:rPr lang="ru-RU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сокая </a:t>
                      </a: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варийность отдельных сервисов (партнерских платформ);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201295" algn="l"/>
                        </a:tabLst>
                      </a:pPr>
                      <a:r>
                        <a:rPr lang="ru-RU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сокая </a:t>
                      </a: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юрократизация бизнес-процессов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Symbol" panose="05050102010706020507" pitchFamily="18" charset="2"/>
                        <a:buChar char=""/>
                        <a:tabLst>
                          <a:tab pos="201295" algn="l"/>
                        </a:tabLst>
                      </a:pPr>
                      <a:r>
                        <a:rPr lang="ru-RU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изкий </a:t>
                      </a: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ппетит к риску 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7344" marR="67344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</a:t>
                      </a:r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</a:t>
                      </a: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возможности отрасли.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201295" algn="l"/>
                        </a:tabLst>
                      </a:pP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 наполнение тарифов новыми цифровыми сервисами;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201295" algn="l"/>
                        </a:tabLst>
                      </a:pP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 выход на новые рынки СНГ с целью расширения присутствия компании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Symbol" panose="05050102010706020507" pitchFamily="18" charset="2"/>
                        <a:buChar char=""/>
                        <a:tabLst>
                          <a:tab pos="201295" algn="l"/>
                        </a:tabLst>
                      </a:pP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 предложение оборудования с интеграцией М2М симкарт 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7344" marR="67344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T сокращение влияния угроз за счет внутренних резервов</a:t>
                      </a:r>
                    </a:p>
                    <a:p>
                      <a:pPr marL="171450" indent="-1714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ффективное </a:t>
                      </a: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спользование инфраструктуры (</a:t>
                      </a:r>
                      <a:r>
                        <a:rPr lang="ru-R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вмест</a:t>
                      </a: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 </a:t>
                      </a:r>
                      <a:r>
                        <a:rPr lang="ru-R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р</a:t>
                      </a: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ператорами, сдача в аренду для размещения иного оборудования) </a:t>
                      </a:r>
                    </a:p>
                    <a:p>
                      <a:pPr marL="171450" indent="-1714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лубокая </a:t>
                      </a: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теграция и резервирование для снижения риска аварий партнерских сервисов</a:t>
                      </a:r>
                      <a:r>
                        <a:rPr lang="ru-RU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;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71450" indent="-1714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теграция</a:t>
                      </a:r>
                      <a:r>
                        <a:rPr lang="ru-RU" sz="1100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родуктов в систему управления Сети</a:t>
                      </a:r>
                      <a:endParaRPr lang="ru-RU" sz="1100" dirty="0" smtClean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344" marR="67344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04868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268923"/>
            <a:ext cx="9144000" cy="416877"/>
          </a:xfrm>
        </p:spPr>
        <p:txBody>
          <a:bodyPr/>
          <a:lstStyle/>
          <a:p>
            <a:r>
              <a:rPr lang="ru-RU" sz="4000" dirty="0" smtClean="0">
                <a:solidFill>
                  <a:schemeClr val="accent2"/>
                </a:solidFill>
              </a:rPr>
              <a:t>Задачи и этапы проекта</a:t>
            </a:r>
            <a:endParaRPr lang="ru-RU" sz="4000" dirty="0">
              <a:solidFill>
                <a:schemeClr val="accent2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04800" y="685800"/>
            <a:ext cx="11460480" cy="1655762"/>
          </a:xfrm>
        </p:spPr>
        <p:txBody>
          <a:bodyPr/>
          <a:lstStyle/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одготовительный </a:t>
            </a:r>
            <a:r>
              <a:rPr lang="ru-RU" sz="2000" b="1" dirty="0">
                <a:latin typeface="Arial" panose="020B0604020202020204" pitchFamily="34" charset="0"/>
                <a:cs typeface="Arial" panose="020B0604020202020204" pitchFamily="34" charset="0"/>
              </a:rPr>
              <a:t>этап. </a:t>
            </a:r>
            <a:endParaRPr lang="ru-RU" sz="2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Создать и обеспечить работу новой организационной структуры РО «Центра внедрения цифровых решений для корпоративных клиентов»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нормативно-правовыми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, кадровыми, материально-техническими, информационно-коммуникативными ресурсами.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абочий этап. 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2. Организовать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систему продаж продуктов в рамках Центра.</a:t>
            </a:r>
            <a:endParaRPr lang="ru-RU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3. Организовать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работу не менее 3-х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коммуникационных площадок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в рамках Центра: </a:t>
            </a:r>
          </a:p>
          <a:p>
            <a:pPr marL="342900" indent="-34290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	Площадка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демонстрации технологических решений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(на базе ИТК-решений и цифровых сервисов) для Заказчиков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	Площадка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для обмена опытом по внедрению цифровых технологии среди действующих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	Клиентов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	Площадка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для обучения персонала действующих и потенциальных Клиентов работе с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	цифровыми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сервисами и технологиями. 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4. Организовать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работу по внедрению, мониторингу и консультированию в вопросах эксплуатации одобренных Клиентами ИКТ-решений и цифровых сервисов. </a:t>
            </a:r>
            <a:endParaRPr lang="ru-RU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Заключительный этап.</a:t>
            </a:r>
            <a:endParaRPr lang="ru-RU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5.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Провести анализ деятельности Центра, оценить эффективность и представить публичный отчет по проекту. </a:t>
            </a:r>
          </a:p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BD42C2-9CC4-4324-AC1B-3D1B3C09CF98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48024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421524" y="688811"/>
            <a:ext cx="9144000" cy="146761"/>
          </a:xfrm>
        </p:spPr>
        <p:txBody>
          <a:bodyPr/>
          <a:lstStyle/>
          <a:p>
            <a:r>
              <a:rPr lang="ru-RU" sz="4000" dirty="0" smtClean="0">
                <a:solidFill>
                  <a:schemeClr val="accent2"/>
                </a:solidFill>
                <a:latin typeface="Arial Black" panose="020B0A04020102020204" pitchFamily="34" charset="0"/>
              </a:rPr>
              <a:t>План-график проекта</a:t>
            </a:r>
            <a:endParaRPr lang="ru-RU" sz="4000" dirty="0">
              <a:solidFill>
                <a:schemeClr val="accent2"/>
              </a:solidFill>
              <a:latin typeface="Arial Black" panose="020B0A04020102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16572" y="1139417"/>
            <a:ext cx="9144000" cy="1655762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BD42C2-9CC4-4324-AC1B-3D1B3C09CF98}" type="slidenum">
              <a:rPr lang="ru-RU" smtClean="0"/>
              <a:t>15</a:t>
            </a:fld>
            <a:endParaRPr lang="ru-RU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642293"/>
              </p:ext>
            </p:extLst>
          </p:nvPr>
        </p:nvGraphicFramePr>
        <p:xfrm>
          <a:off x="609599" y="835574"/>
          <a:ext cx="10978056" cy="487845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981517"/>
                <a:gridCol w="2192511"/>
                <a:gridCol w="1404743"/>
                <a:gridCol w="1399285"/>
              </a:tblGrid>
              <a:tr h="40872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тап проекта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чало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лительность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нец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</a:tr>
              <a:tr h="2311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бота инициативной группы 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.01.2021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ru-RU" sz="16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.01.2021</a:t>
                      </a:r>
                      <a:endParaRPr lang="ru-RU" sz="16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</a:tr>
              <a:tr h="46611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зентация проекта ведущим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ейкхолдерам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Руководство Поволжский филиал)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.01.2021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16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.01.2021</a:t>
                      </a:r>
                      <a:endParaRPr lang="ru-RU" sz="16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</a:tr>
              <a:tr h="25960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здание </a:t>
                      </a:r>
                      <a:r>
                        <a:rPr lang="ru-RU" sz="1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Г для 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ализации Проекта на базе РО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.01.2021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RU" sz="16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.01.2021</a:t>
                      </a:r>
                      <a:endParaRPr lang="ru-RU" sz="16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</a:tr>
              <a:tr h="25099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работка пакета ВНД по деятельности Центра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1.02.2021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</a:t>
                      </a:r>
                      <a:endParaRPr lang="ru-RU" sz="16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.02.2021</a:t>
                      </a:r>
                      <a:endParaRPr lang="ru-RU" sz="16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</a:tr>
              <a:tr h="2603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дбор персонала по </a:t>
                      </a:r>
                      <a:r>
                        <a:rPr lang="ru-RU" sz="1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овым штатным 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диницам Центра 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1.02.2021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</a:t>
                      </a:r>
                      <a:endParaRPr lang="ru-RU" sz="16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.02.2021</a:t>
                      </a:r>
                      <a:endParaRPr lang="ru-RU" sz="16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</a:tr>
              <a:tr h="30454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рганизация рабочих мест по штатным сотрудникам Центра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.02.2021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RU" sz="16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.02.2021</a:t>
                      </a:r>
                      <a:endParaRPr lang="ru-RU" sz="16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</a:tr>
              <a:tr h="22461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ормирования плана работы Центра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1.03.2021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.03.2021</a:t>
                      </a:r>
                      <a:endParaRPr lang="ru-RU" sz="16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</a:tr>
              <a:tr h="51259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нализ портфеля продуктов Партнеров на базе ИКТ-решений и цифровых сервисов для презентации и демонстрации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.03.2021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.03.2021</a:t>
                      </a:r>
                      <a:endParaRPr lang="ru-RU" sz="16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</a:tr>
              <a:tr h="40848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работка, адаптация материалов по ИКТ-решениям для Презентации Клиентам Центра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.03.2021</a:t>
                      </a:r>
                      <a:endParaRPr lang="ru-RU" sz="16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.03.2021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</a:tr>
              <a:tr h="28471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ведение презентации и встреч с Клиентами (по графику)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.03.2021</a:t>
                      </a:r>
                      <a:endParaRPr lang="ru-RU" sz="16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.05.2021</a:t>
                      </a:r>
                      <a:endParaRPr lang="ru-RU" sz="16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</a:tr>
              <a:tr h="40848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ормирование воронки продаж сделок по ИКТ-решениям и цифровым </a:t>
                      </a:r>
                      <a:r>
                        <a:rPr lang="ru-RU" sz="1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рвисам / Заключение сделок с</a:t>
                      </a:r>
                      <a:r>
                        <a:rPr lang="ru-RU" sz="1400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лиентами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.03.2021</a:t>
                      </a:r>
                      <a:endParaRPr lang="ru-RU" sz="16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1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1.07.2021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</a:tr>
              <a:tr h="76697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ализаци</a:t>
                      </a:r>
                      <a:r>
                        <a:rPr lang="ru-RU" sz="1400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я решения  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 даты согласования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хнического задания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1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710" marR="37710" marT="0" marB="0" anchor="ctr"/>
                </a:tc>
              </a:tr>
            </a:tbl>
          </a:graphicData>
        </a:graphic>
      </p:graphicFrame>
      <p:sp>
        <p:nvSpPr>
          <p:cNvPr id="7" name="Подзаголовок 2"/>
          <p:cNvSpPr txBox="1">
            <a:spLocks/>
          </p:cNvSpPr>
          <p:nvPr/>
        </p:nvSpPr>
        <p:spPr>
          <a:xfrm>
            <a:off x="609599" y="5714025"/>
            <a:ext cx="11407074" cy="89416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ctr" defTabSz="914103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103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103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103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103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10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10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10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10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50000"/>
              </a:lnSpc>
              <a:spcBef>
                <a:spcPts val="0"/>
              </a:spcBef>
            </a:pPr>
            <a:r>
              <a:rPr lang="ru-RU" sz="20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ее время реализации проекта – 6 мес. </a:t>
            </a:r>
          </a:p>
          <a:p>
            <a:pPr algn="l">
              <a:lnSpc>
                <a:spcPct val="150000"/>
              </a:lnSpc>
              <a:spcBef>
                <a:spcPts val="0"/>
              </a:spcBef>
            </a:pPr>
            <a:r>
              <a:rPr lang="ru-RU" sz="20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ход на регулярные сделки – с 01 июля 2021 г. </a:t>
            </a:r>
          </a:p>
          <a:p>
            <a:pPr marL="514350" indent="-514350" algn="l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</a:pPr>
            <a:endParaRPr lang="ru-RU" sz="3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9797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371600" y="286791"/>
            <a:ext cx="9144000" cy="462071"/>
          </a:xfrm>
        </p:spPr>
        <p:txBody>
          <a:bodyPr/>
          <a:lstStyle/>
          <a:p>
            <a:r>
              <a:rPr lang="ru-RU" sz="3600" dirty="0" smtClean="0">
                <a:solidFill>
                  <a:schemeClr val="accent2"/>
                </a:solidFill>
                <a:latin typeface="Arial Black" panose="020B0A04020102020204" pitchFamily="34" charset="0"/>
              </a:rPr>
              <a:t>РИСКИ ПРОЕКТА / УПРАВЛЕНИЕ</a:t>
            </a:r>
            <a:endParaRPr lang="ru-RU" sz="3600" dirty="0">
              <a:solidFill>
                <a:schemeClr val="accent2"/>
              </a:solidFill>
              <a:latin typeface="Arial Black" panose="020B0A04020102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835572" y="985345"/>
            <a:ext cx="9832428" cy="4637579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BD42C2-9CC4-4324-AC1B-3D1B3C09CF98}" type="slidenum">
              <a:rPr lang="ru-RU" smtClean="0"/>
              <a:t>16</a:t>
            </a:fld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4508407"/>
              </p:ext>
            </p:extLst>
          </p:nvPr>
        </p:nvGraphicFramePr>
        <p:xfrm>
          <a:off x="835572" y="910222"/>
          <a:ext cx="10778251" cy="484850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79876"/>
                <a:gridCol w="5100804"/>
                <a:gridCol w="3297571"/>
              </a:tblGrid>
              <a:tr h="42820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ип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3468" marR="43468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зможные риски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3468" marR="43468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правление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3468" marR="43468" marT="0" marB="0" anchor="b"/>
                </a:tc>
              </a:tr>
              <a:tr h="55861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рганизационные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3468" marR="43468" marT="0" marB="0"/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111125" algn="l"/>
                        </a:tabLs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эффективная коммуникация среди участников Проекта</a:t>
                      </a:r>
                    </a:p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111125" algn="l"/>
                        </a:tabLs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рушение процедур согласования</a:t>
                      </a:r>
                    </a:p>
                    <a:p>
                      <a:pPr marL="20955" algn="just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1125" algn="l"/>
                        </a:tabLs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3468" marR="4346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здание системы коммуникации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3468" marR="43468" marT="0" marB="0"/>
                </a:tc>
              </a:tr>
              <a:tr h="69075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правленческие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3468" marR="43468" marT="0" marB="0"/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111125" algn="l"/>
                        </a:tabLs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соблюдение сроков реализации проекта;</a:t>
                      </a:r>
                    </a:p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111125" algn="l"/>
                        </a:tabLs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личный уровень управленческой подготовки и мотивации членов проектной и локальных проектных групп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3468" marR="4346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ниторинг хода реализации проекта и гибкое планирование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3468" marR="43468" marT="0" marB="0"/>
                </a:tc>
              </a:tr>
              <a:tr h="57562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дровые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3468" marR="43468" marT="0" marB="0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201295" algn="l"/>
                        </a:tabLs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достаточный уровень квалификации участников Проекта Компании и Клиента;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201295" algn="l"/>
                        </a:tabLs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зменения требований к знаниям и навыкам;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3468" marR="4346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дбор и развитие персонала в проект,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3468" marR="43468" marT="0" marB="0"/>
                </a:tc>
              </a:tr>
              <a:tr h="52959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вестиционные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3468" marR="43468" marT="0" marB="0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111125" algn="l"/>
                        </a:tabLs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достаточность </a:t>
                      </a:r>
                      <a:r>
                        <a:rPr lang="ru-RU" sz="12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вестиций;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111125" algn="l"/>
                        </a:tabLs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 достижение параметров окупаемости проекта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3468" marR="4346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ценка инвестиций в несколько сценариев, работа с затратами в период реализации проекта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3468" marR="43468" marT="0" marB="0"/>
                </a:tc>
              </a:tr>
              <a:tr h="53244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тересов участников проекта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3468" marR="4346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зникновение противоречий между участниками проекта, различные мнения по оценке результатов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3468" marR="4346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диная шкала оценки проекта, регламент взаимодействия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3468" marR="43468" marT="0" marB="0"/>
                </a:tc>
              </a:tr>
              <a:tr h="4572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хнологические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3468" marR="4346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верная оценка способа решения задачи Клиента с использованием ИКТ-решения;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3468" marR="4346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влечение дополнительных экспертов для оценки способа решения задачи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3468" marR="43468" marT="0" marB="0"/>
                </a:tc>
              </a:tr>
              <a:tr h="36780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недренческие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3468" marR="4346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рушение технологии внедрения либо проведения СМР при реализации ИКТ проекта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3468" marR="4346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хнологический контроль этапов проекта 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3468" marR="43468" marT="0" marB="0"/>
                </a:tc>
              </a:tr>
              <a:tr h="57562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нтрактные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3468" marR="4346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рушение условии контрактов по реализуемым Проектам, переносы сроков поставок, отказ от согласованных условий (финансовых, ценовых, временных).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3468" marR="4346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дробная оценка подрядчика-поставщика по проекту.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3468" marR="43468" marT="0" marB="0"/>
                </a:tc>
              </a:tr>
            </a:tbl>
          </a:graphicData>
        </a:graphic>
      </p:graphicFrame>
      <p:sp>
        <p:nvSpPr>
          <p:cNvPr id="8" name="Подзаголовок 2"/>
          <p:cNvSpPr txBox="1">
            <a:spLocks/>
          </p:cNvSpPr>
          <p:nvPr/>
        </p:nvSpPr>
        <p:spPr>
          <a:xfrm>
            <a:off x="916323" y="5805826"/>
            <a:ext cx="11275677" cy="57395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ctr" defTabSz="914103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103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103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103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103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10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10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10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10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50000"/>
              </a:lnSpc>
              <a:spcBef>
                <a:spcPts val="0"/>
              </a:spcBef>
            </a:pPr>
            <a:r>
              <a:rPr lang="ru-RU" sz="20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изить риски Проекта позволит привлечение Персонала с квалификацией Эксперт</a:t>
            </a:r>
          </a:p>
          <a:p>
            <a:pPr marL="514350" indent="-514350" algn="l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</a:pPr>
            <a:endParaRPr lang="ru-RU" sz="3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2018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371600" y="286791"/>
            <a:ext cx="9144000" cy="462071"/>
          </a:xfrm>
        </p:spPr>
        <p:txBody>
          <a:bodyPr/>
          <a:lstStyle/>
          <a:p>
            <a:r>
              <a:rPr lang="ru-RU" sz="4000" dirty="0" smtClean="0">
                <a:solidFill>
                  <a:schemeClr val="accent2"/>
                </a:solidFill>
                <a:latin typeface="Arial Black" panose="020B0A04020102020204" pitchFamily="34" charset="0"/>
              </a:rPr>
              <a:t>Бюджет проекта</a:t>
            </a:r>
            <a:endParaRPr lang="ru-RU" sz="4000" dirty="0">
              <a:solidFill>
                <a:schemeClr val="accent2"/>
              </a:solidFill>
              <a:latin typeface="Arial Black" panose="020B0A04020102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1355833"/>
            <a:ext cx="9144000" cy="426709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BD42C2-9CC4-4324-AC1B-3D1B3C09CF98}" type="slidenum">
              <a:rPr lang="ru-RU" smtClean="0"/>
              <a:t>17</a:t>
            </a:fld>
            <a:endParaRPr lang="ru-RU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7154139"/>
              </p:ext>
            </p:extLst>
          </p:nvPr>
        </p:nvGraphicFramePr>
        <p:xfrm>
          <a:off x="980388" y="980388"/>
          <a:ext cx="10416617" cy="503391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37779"/>
                <a:gridCol w="4709907"/>
                <a:gridCol w="1686046"/>
                <a:gridCol w="1605760"/>
                <a:gridCol w="1677125"/>
              </a:tblGrid>
              <a:tr h="78164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</a:rPr>
                        <a:t>№, п/п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</a:rPr>
                        <a:t>Направление расходов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</a:rPr>
                        <a:t>Расходы всего, тыс. руб. 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</a:rPr>
                        <a:t>В том числе </a:t>
                      </a:r>
                      <a:r>
                        <a:rPr lang="ru-RU" sz="1200" dirty="0" err="1">
                          <a:effectLst/>
                        </a:rPr>
                        <a:t>внутр</a:t>
                      </a:r>
                      <a:r>
                        <a:rPr lang="ru-RU" sz="1200" dirty="0">
                          <a:effectLst/>
                        </a:rPr>
                        <a:t> резервы, тыс. руб. 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</a:rPr>
                        <a:t>Факт</a:t>
                      </a:r>
                      <a:endParaRPr lang="ru-RU" sz="1100" dirty="0">
                        <a:effectLst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</a:rPr>
                        <a:t>расходы, тыс. руб.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</a:tr>
              <a:tr h="41160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ФОТ с </a:t>
                      </a:r>
                      <a:r>
                        <a:rPr lang="ru-RU" sz="1200" dirty="0">
                          <a:effectLst/>
                        </a:rPr>
                        <a:t>начислениями </a:t>
                      </a:r>
                      <a:r>
                        <a:rPr lang="ru-RU" sz="1200" dirty="0" smtClean="0">
                          <a:effectLst/>
                        </a:rPr>
                        <a:t>по </a:t>
                      </a:r>
                      <a:r>
                        <a:rPr lang="ru-RU" sz="1200" dirty="0">
                          <a:effectLst/>
                        </a:rPr>
                        <a:t>вводимым 2 штатным единицам 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2 100 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2 10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</a:tr>
              <a:tr h="35849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2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Организация 2 рабочих мест </a:t>
                      </a:r>
                      <a:r>
                        <a:rPr lang="ru-RU" sz="1200" dirty="0" smtClean="0">
                          <a:effectLst/>
                        </a:rPr>
                        <a:t>(офисная</a:t>
                      </a:r>
                      <a:r>
                        <a:rPr lang="ru-RU" sz="1200" baseline="0" dirty="0" smtClean="0">
                          <a:effectLst/>
                        </a:rPr>
                        <a:t> техника, мебель)</a:t>
                      </a:r>
                      <a:r>
                        <a:rPr lang="ru-RU" sz="1200" dirty="0" smtClean="0">
                          <a:effectLst/>
                        </a:rPr>
                        <a:t> 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7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50 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2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</a:tr>
              <a:tr h="35849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3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Оборудования для презентаций 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350 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30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5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</a:tr>
              <a:tr h="35849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4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Связь и </a:t>
                      </a:r>
                      <a:r>
                        <a:rPr lang="ru-RU" sz="1200" dirty="0" smtClean="0">
                          <a:effectLst/>
                        </a:rPr>
                        <a:t>коммуникации 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2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2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</a:tr>
              <a:tr h="35849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5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Офисные расходы 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48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4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8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</a:tr>
              <a:tr h="716982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6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Расходы на проведение презентации/оплату выступлений на внешних площадках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34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4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30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</a:tr>
              <a:tr h="35849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7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Командировочные расходы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24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24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</a:tr>
              <a:tr h="716982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8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Оплата услуг приглашённых спикеров и экспертов (для обучающих мероприятий)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20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100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0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</a:tr>
              <a:tr h="35849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9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Инвестиционный  </a:t>
                      </a:r>
                      <a:r>
                        <a:rPr lang="ru-RU" sz="1200" dirty="0">
                          <a:effectLst/>
                        </a:rPr>
                        <a:t>фонд на пилотирование </a:t>
                      </a:r>
                      <a:r>
                        <a:rPr lang="ru-RU" sz="1200" dirty="0" smtClean="0">
                          <a:effectLst/>
                        </a:rPr>
                        <a:t>проектов*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2 00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2 00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</a:tr>
              <a:tr h="25575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 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Итого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5 568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63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4 938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3" marR="68573" marT="0" marB="0" anchor="ctr"/>
                </a:tc>
              </a:tr>
            </a:tbl>
          </a:graphicData>
        </a:graphic>
      </p:graphicFrame>
      <p:sp>
        <p:nvSpPr>
          <p:cNvPr id="12" name="Подзаголовок 2"/>
          <p:cNvSpPr txBox="1">
            <a:spLocks/>
          </p:cNvSpPr>
          <p:nvPr/>
        </p:nvSpPr>
        <p:spPr>
          <a:xfrm>
            <a:off x="980388" y="6014300"/>
            <a:ext cx="11275677" cy="57395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ctr" defTabSz="914103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103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103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103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103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10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10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10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10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50000"/>
              </a:lnSpc>
              <a:spcBef>
                <a:spcPts val="0"/>
              </a:spcBef>
            </a:pPr>
            <a:r>
              <a:rPr lang="ru-RU" sz="20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пользование внутренних резервов – 11% затрат.</a:t>
            </a:r>
          </a:p>
          <a:p>
            <a:pPr marL="514350" indent="-514350" algn="l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</a:pPr>
            <a:endParaRPr lang="ru-RU" sz="3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3586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78025" y="286791"/>
            <a:ext cx="11579701" cy="462071"/>
          </a:xfrm>
        </p:spPr>
        <p:txBody>
          <a:bodyPr/>
          <a:lstStyle/>
          <a:p>
            <a:r>
              <a:rPr lang="ru-RU" sz="3800" dirty="0" smtClean="0">
                <a:solidFill>
                  <a:schemeClr val="accent2"/>
                </a:solidFill>
                <a:latin typeface="Arial Black" panose="020B0A04020102020204" pitchFamily="34" charset="0"/>
              </a:rPr>
              <a:t>Эффективность проекта (коммерческая)</a:t>
            </a:r>
            <a:endParaRPr lang="ru-RU" sz="3800" dirty="0">
              <a:solidFill>
                <a:schemeClr val="accent2"/>
              </a:solidFill>
              <a:latin typeface="Arial Black" panose="020B0A04020102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55943" y="1355834"/>
            <a:ext cx="11783505" cy="4267091"/>
          </a:xfrm>
        </p:spPr>
        <p:txBody>
          <a:bodyPr/>
          <a:lstStyle/>
          <a:p>
            <a:pPr marL="514350" indent="-514350" algn="l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</a:pPr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Рост выручки в сегменте В2Х от направления Цифровых сервисов (ИКТ-решений) + 20% год к году.</a:t>
            </a:r>
          </a:p>
          <a:p>
            <a:pPr marL="514350" indent="-514350" algn="l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</a:pPr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Доля в выручке сегмента В2Х не менее 5% по итогам года.</a:t>
            </a:r>
          </a:p>
          <a:p>
            <a:pPr marL="514350" indent="-514350" algn="l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</a:pPr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Количество реализованных ИКТ-Проектов 3.</a:t>
            </a:r>
          </a:p>
          <a:p>
            <a:pPr marL="514350" indent="-514350" algn="l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</a:pPr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Расширение воронки продаж с Клиентами в 2 раза.</a:t>
            </a:r>
          </a:p>
          <a:p>
            <a:pPr marL="514350" indent="-514350" algn="l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</a:pPr>
            <a:endParaRPr lang="ru-RU" sz="3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BD42C2-9CC4-4324-AC1B-3D1B3C09CF98}" type="slidenum">
              <a:rPr lang="ru-RU" smtClean="0"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4431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55943" y="828958"/>
            <a:ext cx="11579701" cy="462071"/>
          </a:xfrm>
        </p:spPr>
        <p:txBody>
          <a:bodyPr/>
          <a:lstStyle/>
          <a:p>
            <a:r>
              <a:rPr lang="ru-RU" sz="3800" dirty="0" smtClean="0">
                <a:solidFill>
                  <a:schemeClr val="accent2"/>
                </a:solidFill>
                <a:latin typeface="Arial Black" panose="020B0A04020102020204" pitchFamily="34" charset="0"/>
              </a:rPr>
              <a:t>Эффективность проекта (социальные и маркетинговые показатели)</a:t>
            </a:r>
            <a:endParaRPr lang="ru-RU" sz="3800" dirty="0">
              <a:solidFill>
                <a:schemeClr val="accent2"/>
              </a:solidFill>
              <a:latin typeface="Arial Black" panose="020B0A04020102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55943" y="1355834"/>
            <a:ext cx="11783505" cy="4267091"/>
          </a:xfrm>
        </p:spPr>
        <p:txBody>
          <a:bodyPr/>
          <a:lstStyle/>
          <a:p>
            <a:pPr marL="514350" indent="-514350" algn="just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Создание 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системы формирования у Клиентов видения потенциальных зон внедрения ИКТ – решений и цифровых сервисов с учётом специфики их бизнеса.</a:t>
            </a:r>
          </a:p>
          <a:p>
            <a:pPr marL="514350" indent="-514350" algn="just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Повышение 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квалификации руководителей и сотрудников действующих и потенциальных Клиентов в части использования цифровых технологии.</a:t>
            </a:r>
          </a:p>
          <a:p>
            <a:pPr marL="514350" indent="-514350" algn="just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Формирование 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у действующих и потенциальных Клиентов образа </a:t>
            </a: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ПАО «МегаФон» 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как игрока рынка интеграционных услуг.</a:t>
            </a:r>
          </a:p>
          <a:p>
            <a:pPr marL="514350" indent="-514350" algn="l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</a:pPr>
            <a:endParaRPr lang="ru-RU" sz="3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BD42C2-9CC4-4324-AC1B-3D1B3C09CF98}" type="slidenum">
              <a:rPr lang="ru-RU" smtClean="0"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9634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57185" y="280157"/>
            <a:ext cx="11327524" cy="736917"/>
          </a:xfrm>
        </p:spPr>
        <p:txBody>
          <a:bodyPr/>
          <a:lstStyle/>
          <a:p>
            <a:r>
              <a:rPr lang="ru-RU" sz="3000" dirty="0" smtClean="0">
                <a:solidFill>
                  <a:schemeClr val="accent2"/>
                </a:solidFill>
                <a:latin typeface="Arial Black" panose="020B0A04020102020204" pitchFamily="34" charset="0"/>
              </a:rPr>
              <a:t>Динамика рынка мобильной связи 1999 – 2019 (Абоненты)</a:t>
            </a:r>
            <a:endParaRPr lang="ru-RU" sz="3000" dirty="0">
              <a:solidFill>
                <a:schemeClr val="accent2"/>
              </a:solidFill>
              <a:latin typeface="Arial Black" panose="020B0A04020102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8227326" y="1188402"/>
            <a:ext cx="3761754" cy="5307526"/>
          </a:xfrm>
        </p:spPr>
        <p:txBody>
          <a:bodyPr/>
          <a:lstStyle/>
          <a:p>
            <a:endParaRPr lang="ru-RU" dirty="0" smtClean="0"/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Ключевые регионы:</a:t>
            </a: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Москва 20%</a:t>
            </a: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Московская область 15%</a:t>
            </a: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анкт-Петербург 10%</a:t>
            </a: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Ленинградская область 5%</a:t>
            </a: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Остальные города-</a:t>
            </a:r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миллионники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 15%</a:t>
            </a: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рочие регионы 35%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4384" y="5045297"/>
            <a:ext cx="1765622" cy="1612510"/>
          </a:xfrm>
          <a:prstGeom prst="rect">
            <a:avLst/>
          </a:prstGeom>
        </p:spPr>
      </p:pic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BD42C2-9CC4-4324-AC1B-3D1B3C09CF98}" type="slidenum">
              <a:rPr lang="ru-RU" smtClean="0"/>
              <a:t>2</a:t>
            </a:fld>
            <a:endParaRPr lang="ru-RU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41" y="1188402"/>
            <a:ext cx="8176261" cy="4251960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03109" y="4797451"/>
            <a:ext cx="1885325" cy="2108202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28456" y="4969089"/>
            <a:ext cx="1692491" cy="1888911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67335" y="4841004"/>
            <a:ext cx="1922020" cy="2145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8519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277621" y="277384"/>
            <a:ext cx="3639059" cy="502573"/>
          </a:xfrm>
          <a:prstGeom prst="rect">
            <a:avLst/>
          </a:prstGeom>
          <a:solidFill>
            <a:srgbClr val="00BC36"/>
          </a:solidFill>
        </p:spPr>
        <p:txBody>
          <a:bodyPr wrap="square" rtlCol="0">
            <a:spAutoFit/>
          </a:bodyPr>
          <a:lstStyle/>
          <a:p>
            <a:endParaRPr lang="en-US" sz="2666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77620" y="277384"/>
            <a:ext cx="11417351" cy="461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399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Площадка обучения</a:t>
            </a:r>
            <a:r>
              <a:rPr lang="ru-RU" sz="2399" dirty="0" smtClean="0">
                <a:solidFill>
                  <a:srgbClr val="731982"/>
                </a:solidFill>
                <a:latin typeface="Arial Black" panose="020B0A04020102020204" pitchFamily="34" charset="0"/>
              </a:rPr>
              <a:t> </a:t>
            </a:r>
            <a:r>
              <a:rPr lang="ru-RU" sz="2399" dirty="0">
                <a:solidFill>
                  <a:srgbClr val="731982"/>
                </a:solidFill>
                <a:latin typeface="Arial Black" panose="020B0A04020102020204" pitchFamily="34" charset="0"/>
              </a:rPr>
              <a:t>по </a:t>
            </a:r>
            <a:r>
              <a:rPr lang="ru-RU" sz="2399" dirty="0" smtClean="0">
                <a:solidFill>
                  <a:srgbClr val="731982"/>
                </a:solidFill>
                <a:latin typeface="Arial Black" panose="020B0A04020102020204" pitchFamily="34" charset="0"/>
              </a:rPr>
              <a:t>ИКТ решениям и цифровым сервисам</a:t>
            </a:r>
            <a:endParaRPr lang="en-US" sz="2399" dirty="0">
              <a:solidFill>
                <a:srgbClr val="731982"/>
              </a:solidFill>
              <a:latin typeface="Arial Black" panose="020B0A040201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7620" y="1188107"/>
            <a:ext cx="7882766" cy="5204235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379502" y="1283654"/>
            <a:ext cx="3551293" cy="51086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Зоны развития </a:t>
            </a:r>
          </a:p>
          <a:p>
            <a:pPr marL="457051" indent="-457051">
              <a:lnSpc>
                <a:spcPct val="150000"/>
              </a:lnSpc>
              <a:buAutoNum type="arabicPeriod"/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Информационная безопасность.</a:t>
            </a:r>
          </a:p>
          <a:p>
            <a:pPr marL="457051" indent="-457051">
              <a:lnSpc>
                <a:spcPct val="150000"/>
              </a:lnSpc>
              <a:buAutoNum type="arabicPeriod"/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Большие данные в государственном управлении.</a:t>
            </a:r>
          </a:p>
          <a:p>
            <a:pPr marL="457051" indent="-457051">
              <a:lnSpc>
                <a:spcPct val="150000"/>
              </a:lnSpc>
              <a:buAutoNum type="arabicPeriod"/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Облачные решения для оптимизации ИТ инфраструктуры.</a:t>
            </a:r>
          </a:p>
          <a:p>
            <a:pPr marL="457051" indent="-457051">
              <a:lnSpc>
                <a:spcPct val="150000"/>
              </a:lnSpc>
              <a:buAutoNum type="arabicPeriod"/>
            </a:pPr>
            <a:r>
              <a:rPr lang="ru-RU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Видеоаналитика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457051" indent="-457051">
              <a:lnSpc>
                <a:spcPct val="150000"/>
              </a:lnSpc>
              <a:buAutoNum type="arabicPeriod"/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истемы электронного управления.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133" dirty="0"/>
              <a:t> </a:t>
            </a:r>
          </a:p>
          <a:p>
            <a:pPr marL="457051" indent="-457051">
              <a:buAutoNum type="arabicPeriod"/>
            </a:pPr>
            <a:endParaRPr lang="ru-RU" sz="2133" dirty="0"/>
          </a:p>
        </p:txBody>
      </p:sp>
    </p:spTree>
    <p:extLst>
      <p:ext uri="{BB962C8B-B14F-4D97-AF65-F5344CB8AC3E}">
        <p14:creationId xmlns:p14="http://schemas.microsoft.com/office/powerpoint/2010/main" val="4117635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277620" y="256732"/>
            <a:ext cx="11417351" cy="502573"/>
          </a:xfrm>
          <a:prstGeom prst="rect">
            <a:avLst/>
          </a:prstGeom>
          <a:solidFill>
            <a:srgbClr val="00BC36"/>
          </a:solidFill>
        </p:spPr>
        <p:txBody>
          <a:bodyPr wrap="square" rtlCol="0">
            <a:spAutoFit/>
          </a:bodyPr>
          <a:lstStyle/>
          <a:p>
            <a:endParaRPr lang="en-US" sz="2666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77619" y="256732"/>
            <a:ext cx="11417351" cy="461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399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Площадка демонстрации решений Центра (зона пилота) </a:t>
            </a:r>
            <a:endParaRPr lang="en-US" sz="2399" dirty="0">
              <a:solidFill>
                <a:srgbClr val="751C82"/>
              </a:solidFill>
              <a:latin typeface="Arial Black" panose="020B0A040201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620" y="1225527"/>
            <a:ext cx="7622106" cy="5081404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8113291" y="1225528"/>
            <a:ext cx="4261802" cy="19326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sz="2399" dirty="0">
                <a:latin typeface="Arial Black" panose="020B0A04020102020204" pitchFamily="34" charset="0"/>
              </a:rPr>
              <a:t>МегаФон </a:t>
            </a:r>
            <a:r>
              <a:rPr lang="ru-RU" sz="2399" dirty="0" smtClean="0">
                <a:latin typeface="Arial Black" panose="020B0A04020102020204" pitchFamily="34" charset="0"/>
              </a:rPr>
              <a:t>для ЖКХ</a:t>
            </a:r>
            <a:endParaRPr lang="ru-RU" sz="2399" dirty="0">
              <a:latin typeface="Arial Black" panose="020B0A04020102020204" pitchFamily="34" charset="0"/>
            </a:endParaRPr>
          </a:p>
          <a:p>
            <a:r>
              <a:rPr lang="ru-RU" sz="2399" dirty="0" smtClean="0">
                <a:latin typeface="Arial Black" panose="020B0A04020102020204" pitchFamily="34" charset="0"/>
              </a:rPr>
              <a:t>«промышленный</a:t>
            </a:r>
            <a:endParaRPr lang="ru-RU" sz="2399" dirty="0">
              <a:latin typeface="Arial Black" panose="020B0A04020102020204" pitchFamily="34" charset="0"/>
            </a:endParaRPr>
          </a:p>
          <a:p>
            <a:r>
              <a:rPr lang="ru-RU" sz="2399" dirty="0" smtClean="0">
                <a:latin typeface="Arial Black" panose="020B0A04020102020204" pitchFamily="34" charset="0"/>
              </a:rPr>
              <a:t>интернет вещей» </a:t>
            </a:r>
            <a:r>
              <a:rPr lang="ru-RU" sz="2399" dirty="0">
                <a:latin typeface="Arial Black" panose="020B0A04020102020204" pitchFamily="34" charset="0"/>
              </a:rPr>
              <a:t>на базе стандарта </a:t>
            </a:r>
            <a:r>
              <a:rPr lang="en-US" sz="2399" dirty="0" smtClean="0">
                <a:latin typeface="Arial Black" panose="020B0A04020102020204" pitchFamily="34" charset="0"/>
              </a:rPr>
              <a:t>NB-</a:t>
            </a:r>
            <a:r>
              <a:rPr lang="en-US" sz="2399" dirty="0" err="1" smtClean="0">
                <a:latin typeface="Arial Black" panose="020B0A04020102020204" pitchFamily="34" charset="0"/>
              </a:rPr>
              <a:t>IoT</a:t>
            </a:r>
            <a:endParaRPr lang="ru-RU" sz="2399" dirty="0" smtClean="0">
              <a:latin typeface="Arial Black" panose="020B0A04020102020204" pitchFamily="34" charset="0"/>
            </a:endParaRPr>
          </a:p>
          <a:p>
            <a:endParaRPr lang="ru-RU" sz="2399" dirty="0">
              <a:latin typeface="Arial Black" panose="020B0A04020102020204" pitchFamily="34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4"/>
          <a:srcRect l="31501" t="54180" r="30698" b="9006"/>
          <a:stretch/>
        </p:blipFill>
        <p:spPr>
          <a:xfrm>
            <a:off x="8025147" y="2848131"/>
            <a:ext cx="3995959" cy="3312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7297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1"/>
          <p:cNvSpPr txBox="1">
            <a:spLocks/>
          </p:cNvSpPr>
          <p:nvPr/>
        </p:nvSpPr>
        <p:spPr>
          <a:xfrm>
            <a:off x="511174" y="2679186"/>
            <a:ext cx="11330214" cy="189736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000" dirty="0" smtClean="0">
                <a:latin typeface="Arial Black" panose="020B0A04020102020204" pitchFamily="34" charset="0"/>
              </a:rPr>
              <a:t>«Организация Центра внедрения цифровых </a:t>
            </a:r>
            <a:r>
              <a:rPr lang="ru-RU" sz="2000" dirty="0">
                <a:latin typeface="Arial Black" panose="020B0A04020102020204" pitchFamily="34" charset="0"/>
              </a:rPr>
              <a:t>сервисов </a:t>
            </a:r>
            <a:endParaRPr lang="ru-RU" sz="2000" dirty="0" smtClean="0">
              <a:latin typeface="Arial Black" panose="020B0A04020102020204" pitchFamily="34" charset="0"/>
            </a:endParaRPr>
          </a:p>
          <a:p>
            <a:pPr>
              <a:lnSpc>
                <a:spcPct val="100000"/>
              </a:lnSpc>
            </a:pPr>
            <a:r>
              <a:rPr lang="ru-RU" sz="2000" dirty="0" smtClean="0">
                <a:latin typeface="Arial Black" panose="020B0A04020102020204" pitchFamily="34" charset="0"/>
              </a:rPr>
              <a:t>для корпоративных клиентов Саратовского </a:t>
            </a:r>
            <a:r>
              <a:rPr lang="ru-RU" sz="2000" dirty="0">
                <a:latin typeface="Arial Black" panose="020B0A04020102020204" pitchFamily="34" charset="0"/>
              </a:rPr>
              <a:t>регионального отделения </a:t>
            </a:r>
            <a:endParaRPr lang="ru-RU" sz="2000" dirty="0" smtClean="0">
              <a:latin typeface="Arial Black" panose="020B0A04020102020204" pitchFamily="34" charset="0"/>
            </a:endParaRPr>
          </a:p>
          <a:p>
            <a:pPr>
              <a:lnSpc>
                <a:spcPct val="100000"/>
              </a:lnSpc>
            </a:pPr>
            <a:r>
              <a:rPr lang="ru-RU" sz="2000" dirty="0" smtClean="0">
                <a:latin typeface="Arial Black" panose="020B0A04020102020204" pitchFamily="34" charset="0"/>
              </a:rPr>
              <a:t>Поволжского филиала ПАО </a:t>
            </a:r>
            <a:r>
              <a:rPr lang="ru-RU" sz="2000" dirty="0">
                <a:latin typeface="Arial Black" panose="020B0A04020102020204" pitchFamily="34" charset="0"/>
              </a:rPr>
              <a:t>«МегаФон»</a:t>
            </a:r>
            <a:endParaRPr lang="ru-RU" sz="2000" dirty="0" smtClean="0">
              <a:latin typeface="Arial Black" panose="020B0A04020102020204" pitchFamily="34" charset="0"/>
            </a:endParaRPr>
          </a:p>
        </p:txBody>
      </p:sp>
      <p:grpSp>
        <p:nvGrpSpPr>
          <p:cNvPr id="6" name="Группа 5"/>
          <p:cNvGrpSpPr/>
          <p:nvPr/>
        </p:nvGrpSpPr>
        <p:grpSpPr>
          <a:xfrm rot="10800000">
            <a:off x="511175" y="692150"/>
            <a:ext cx="3799609" cy="1188244"/>
            <a:chOff x="11032332" y="870068"/>
            <a:chExt cx="895040" cy="283368"/>
          </a:xfrm>
        </p:grpSpPr>
        <p:sp>
          <p:nvSpPr>
            <p:cNvPr id="7" name="Овал 6"/>
            <p:cNvSpPr/>
            <p:nvPr/>
          </p:nvSpPr>
          <p:spPr>
            <a:xfrm>
              <a:off x="11032332" y="870068"/>
              <a:ext cx="283368" cy="283368"/>
            </a:xfrm>
            <a:prstGeom prst="ellipse">
              <a:avLst/>
            </a:prstGeom>
            <a:solidFill>
              <a:srgbClr val="7319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8" name="Овал 7"/>
            <p:cNvSpPr/>
            <p:nvPr/>
          </p:nvSpPr>
          <p:spPr>
            <a:xfrm>
              <a:off x="11644004" y="870068"/>
              <a:ext cx="283368" cy="283368"/>
            </a:xfrm>
            <a:prstGeom prst="ellipse">
              <a:avLst/>
            </a:prstGeom>
            <a:solidFill>
              <a:srgbClr val="00B9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731982"/>
                </a:solidFill>
              </a:endParaRPr>
            </a:p>
          </p:txBody>
        </p:sp>
        <p:sp>
          <p:nvSpPr>
            <p:cNvPr id="9" name="Овал 8"/>
            <p:cNvSpPr/>
            <p:nvPr/>
          </p:nvSpPr>
          <p:spPr>
            <a:xfrm>
              <a:off x="11338168" y="870068"/>
              <a:ext cx="283368" cy="283368"/>
            </a:xfrm>
            <a:prstGeom prst="ellipse">
              <a:avLst/>
            </a:prstGeom>
            <a:solidFill>
              <a:srgbClr val="00B9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BD42C2-9CC4-4324-AC1B-3D1B3C09CF98}" type="slidenum">
              <a:rPr lang="ru-RU" smtClean="0"/>
              <a:t>22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6768" y="5948026"/>
            <a:ext cx="2312861" cy="735139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60344" y="4253492"/>
            <a:ext cx="1085741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Автор проекта:</a:t>
            </a:r>
          </a:p>
          <a:p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Башкевич Андрей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Витальевич</a:t>
            </a:r>
          </a:p>
          <a:p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Научные руководители:</a:t>
            </a:r>
          </a:p>
          <a:p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орсаков Юрий Александрович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андидат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философских наук,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оцент</a:t>
            </a:r>
          </a:p>
          <a:p>
            <a:endParaRPr lang="ru-RU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ондратов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Дмитрий Вячеславович</a:t>
            </a:r>
          </a:p>
          <a:p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октор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физико-математических наук, заведующий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афедрой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3027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02260" y="399141"/>
            <a:ext cx="11119320" cy="736917"/>
          </a:xfrm>
        </p:spPr>
        <p:txBody>
          <a:bodyPr/>
          <a:lstStyle/>
          <a:p>
            <a:r>
              <a:rPr lang="ru-RU" sz="3000" dirty="0" smtClean="0">
                <a:solidFill>
                  <a:schemeClr val="accent2"/>
                </a:solidFill>
                <a:latin typeface="Arial Black" panose="020B0A04020102020204" pitchFamily="34" charset="0"/>
              </a:rPr>
              <a:t>Динамика рынка мобильной связи 1999-2019 (выручка)  </a:t>
            </a:r>
            <a:endParaRPr lang="ru-RU" sz="3000" dirty="0">
              <a:solidFill>
                <a:schemeClr val="accent2"/>
              </a:solidFill>
              <a:latin typeface="Arial Black" panose="020B0A040201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BD42C2-9CC4-4324-AC1B-3D1B3C09CF98}" type="slidenum">
              <a:rPr lang="ru-RU" smtClean="0"/>
              <a:t>3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165" y="1136058"/>
            <a:ext cx="5915235" cy="4304304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1202" y="1335718"/>
            <a:ext cx="5946059" cy="5044063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61920" y="2611712"/>
            <a:ext cx="1083456" cy="1083456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21881" y="3894828"/>
            <a:ext cx="963534" cy="963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079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04973" y="137193"/>
            <a:ext cx="9643106" cy="884421"/>
          </a:xfrm>
        </p:spPr>
        <p:txBody>
          <a:bodyPr/>
          <a:lstStyle/>
          <a:p>
            <a:r>
              <a:rPr lang="ru-RU" sz="3600" dirty="0" smtClean="0">
                <a:solidFill>
                  <a:schemeClr val="accent2"/>
                </a:solidFill>
                <a:latin typeface="Arial Black" panose="020B0A04020102020204" pitchFamily="34" charset="0"/>
              </a:rPr>
              <a:t>Новый рынок – ИТ - интеграция </a:t>
            </a:r>
            <a:endParaRPr lang="ru-RU" sz="3600" dirty="0">
              <a:solidFill>
                <a:schemeClr val="accent2"/>
              </a:solidFill>
              <a:latin typeface="Arial Black" panose="020B0A04020102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901179" y="1103585"/>
            <a:ext cx="5941052" cy="551448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Актуальность выбора данного направления подтверждается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государственной политикой,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вязанной с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развитие Цифровой экономики </a:t>
            </a:r>
          </a:p>
          <a:p>
            <a:pPr>
              <a:lnSpc>
                <a:spcPct val="100000"/>
              </a:lnSpc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Указ Президента Российской Федерации от 09.05.2017 г. № 203 «О Стратегии развития информационного общества в Российской Федерации на 2017 – 2030 годы» </a:t>
            </a:r>
          </a:p>
          <a:p>
            <a:pPr>
              <a:lnSpc>
                <a:spcPct val="100000"/>
              </a:lnSpc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Распоряжени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авительства Российской Федерации   от 28.07.2017 г. № 1632-р «Программа Цифровая экономика» 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BD42C2-9CC4-4324-AC1B-3D1B3C09CF98}" type="slidenum">
              <a:rPr lang="ru-RU" smtClean="0"/>
              <a:t>4</a:t>
            </a:fld>
            <a:endParaRPr lang="ru-RU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739" y="991648"/>
            <a:ext cx="5733340" cy="5626427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3023" y="5062561"/>
            <a:ext cx="5052767" cy="548688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3025" y="3476455"/>
            <a:ext cx="5052767" cy="501656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3023" y="4671686"/>
            <a:ext cx="5052767" cy="501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619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12378" y="137193"/>
            <a:ext cx="10838793" cy="884421"/>
          </a:xfrm>
        </p:spPr>
        <p:txBody>
          <a:bodyPr/>
          <a:lstStyle/>
          <a:p>
            <a:r>
              <a:rPr lang="ru-RU" sz="4000" dirty="0" smtClean="0">
                <a:solidFill>
                  <a:schemeClr val="accent2"/>
                </a:solidFill>
                <a:latin typeface="Arial Black" panose="020B0A04020102020204" pitchFamily="34" charset="0"/>
              </a:rPr>
              <a:t>Наш новый рынок ИТ-интеграция </a:t>
            </a:r>
            <a:endParaRPr lang="ru-RU" sz="4000" dirty="0">
              <a:solidFill>
                <a:schemeClr val="accent2"/>
              </a:solidFill>
              <a:latin typeface="Arial Black" panose="020B0A04020102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716437" y="5775269"/>
            <a:ext cx="11095813" cy="769545"/>
          </a:xfrm>
        </p:spPr>
        <p:txBody>
          <a:bodyPr/>
          <a:lstStyle/>
          <a:p>
            <a:r>
              <a:rPr lang="ru-RU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гаФон</a:t>
            </a:r>
            <a:r>
              <a:rPr lang="ru-RU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ыбирает стратегию роста на рынке </a:t>
            </a:r>
          </a:p>
          <a:p>
            <a:r>
              <a:rPr lang="ru-RU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рез Партнерство с Лидерами – </a:t>
            </a:r>
            <a:r>
              <a:rPr lang="ru-RU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КС-Холдинг</a:t>
            </a:r>
            <a:endParaRPr lang="ru-RU" b="1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BD42C2-9CC4-4324-AC1B-3D1B3C09CF98}" type="slidenum">
              <a:rPr lang="ru-RU" smtClean="0"/>
              <a:t>5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724" y="1021614"/>
            <a:ext cx="5422198" cy="4638779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5922" y="1223374"/>
            <a:ext cx="5596328" cy="4461598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1027522" y="3996965"/>
            <a:ext cx="4904252" cy="471340"/>
          </a:xfrm>
          <a:prstGeom prst="rect">
            <a:avLst/>
          </a:prstGeom>
          <a:noFill/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 anchorCtr="0">
            <a:noAutofit/>
          </a:bodyPr>
          <a:lstStyle/>
          <a:p>
            <a:pPr algn="ctr"/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561960" y="3648173"/>
            <a:ext cx="4904252" cy="348792"/>
          </a:xfrm>
          <a:prstGeom prst="rect">
            <a:avLst/>
          </a:prstGeom>
          <a:noFill/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 anchorCtr="0">
            <a:noAutofit/>
          </a:bodyPr>
          <a:lstStyle/>
          <a:p>
            <a:pPr algn="ctr"/>
            <a:endParaRPr lang="ru-RU" sz="1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2955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BD42C2-9CC4-4324-AC1B-3D1B3C09CF98}" type="slidenum">
              <a:rPr lang="ru-RU" smtClean="0"/>
              <a:t>6</a:t>
            </a:fld>
            <a:endParaRPr lang="ru-RU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24" r="19957"/>
          <a:stretch/>
        </p:blipFill>
        <p:spPr>
          <a:xfrm>
            <a:off x="3374105" y="1024556"/>
            <a:ext cx="3147934" cy="2403307"/>
          </a:xfrm>
          <a:prstGeom prst="rect">
            <a:avLst/>
          </a:prstGeom>
        </p:spPr>
      </p:pic>
      <p:sp>
        <p:nvSpPr>
          <p:cNvPr id="14" name="Объект 2"/>
          <p:cNvSpPr txBox="1">
            <a:spLocks/>
          </p:cNvSpPr>
          <p:nvPr/>
        </p:nvSpPr>
        <p:spPr>
          <a:xfrm>
            <a:off x="6589126" y="289559"/>
            <a:ext cx="5534557" cy="639605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ctr" defTabSz="914103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103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103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103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103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10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10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10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10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ru-RU" sz="20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</a:t>
            </a:r>
            <a:r>
              <a:rPr lang="ru-RU" sz="20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июня 1993 г.</a:t>
            </a:r>
            <a:r>
              <a:rPr lang="ru-R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endParaRPr lang="ru-RU" sz="20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ru-R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нь </a:t>
            </a:r>
            <a:r>
              <a:rPr lang="ru-R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ждения </a:t>
            </a:r>
            <a:r>
              <a:rPr lang="ru-R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МегаФона»: создана компания ЗАО </a:t>
            </a:r>
            <a:r>
              <a:rPr lang="ru-R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Северо-Западный GSM</a:t>
            </a:r>
            <a:r>
              <a:rPr lang="ru-R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  <a:p>
            <a:pPr>
              <a:lnSpc>
                <a:spcPct val="100000"/>
              </a:lnSpc>
            </a:pPr>
            <a:r>
              <a:rPr lang="ru-RU" sz="20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99</a:t>
            </a:r>
            <a:r>
              <a:rPr lang="ru-RU" sz="20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г.</a:t>
            </a:r>
            <a:r>
              <a:rPr lang="ru-RU" sz="20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ru-R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пуск GSM </a:t>
            </a:r>
            <a:r>
              <a:rPr lang="ru-R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ти </a:t>
            </a:r>
            <a:r>
              <a:rPr lang="ru-R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МегаФон» в Саратове.</a:t>
            </a:r>
          </a:p>
          <a:p>
            <a:pPr fontAlgn="base">
              <a:lnSpc>
                <a:spcPct val="100000"/>
              </a:lnSpc>
            </a:pPr>
            <a:r>
              <a:rPr lang="ru-RU" sz="20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07</a:t>
            </a:r>
            <a:r>
              <a:rPr lang="ru-RU" sz="20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г.</a:t>
            </a:r>
            <a:r>
              <a:rPr lang="ru-RU" sz="20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ru-R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гаФон </a:t>
            </a:r>
            <a:r>
              <a:rPr lang="ru-R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вым </a:t>
            </a:r>
            <a:r>
              <a:rPr lang="ru-R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России </a:t>
            </a:r>
            <a:r>
              <a:rPr lang="ru-R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пускает </a:t>
            </a:r>
            <a:r>
              <a:rPr lang="ru-R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ть </a:t>
            </a:r>
            <a:r>
              <a:rPr lang="ru-R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ого поколения 3G.</a:t>
            </a:r>
          </a:p>
          <a:p>
            <a:pPr>
              <a:lnSpc>
                <a:spcPct val="100000"/>
              </a:lnSpc>
            </a:pPr>
            <a:r>
              <a:rPr lang="ru-RU" sz="20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евраль 2014 г.</a:t>
            </a:r>
            <a:r>
              <a:rPr lang="ru-R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ru-R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гаФон Генеральный телекоммуникационный партнёр Олимпийских/Параолимпийских игр</a:t>
            </a:r>
          </a:p>
          <a:p>
            <a:pPr>
              <a:lnSpc>
                <a:spcPct val="100000"/>
              </a:lnSpc>
            </a:pPr>
            <a:r>
              <a:rPr lang="ru-RU" sz="20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6 г.</a:t>
            </a:r>
            <a:r>
              <a:rPr lang="ru-RU" sz="2000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нкт-Петербург, ПМЭФ – первый тест связи </a:t>
            </a:r>
            <a:r>
              <a:rPr lang="en-US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G</a:t>
            </a:r>
            <a:r>
              <a:rPr lang="ru-R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овместно с </a:t>
            </a:r>
            <a:r>
              <a:rPr lang="en-US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KIA </a:t>
            </a:r>
            <a:r>
              <a:rPr lang="ru-R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en-US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</a:t>
            </a:r>
            <a:endParaRPr lang="ru-RU" sz="20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ru-RU" sz="20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 </a:t>
            </a:r>
            <a:r>
              <a:rPr lang="en-US" sz="20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20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8 г.</a:t>
            </a:r>
            <a:r>
              <a:rPr lang="ru-RU" sz="2000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ическое партнерство для Кубка Конфедерации и Кубка Мира </a:t>
            </a:r>
            <a:r>
              <a:rPr lang="en-US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FA</a:t>
            </a:r>
            <a:endParaRPr lang="ru-RU" sz="20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ru-RU" sz="20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юль 2020 г. </a:t>
            </a:r>
            <a:r>
              <a:rPr lang="ru-R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рт проекта «</a:t>
            </a:r>
            <a:r>
              <a:rPr lang="en-US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ctic Connect</a:t>
            </a:r>
            <a:r>
              <a:rPr lang="ru-R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по прокладке подводной волоконно-оптической линии связи из Европы в Азию.</a:t>
            </a:r>
            <a:r>
              <a:rPr lang="ru-RU" sz="2000" dirty="0" smtClean="0">
                <a:solidFill>
                  <a:schemeClr val="tx2"/>
                </a:solidFill>
              </a:rPr>
              <a:t> </a:t>
            </a:r>
          </a:p>
          <a:p>
            <a:endParaRPr lang="ru-RU" sz="2000" dirty="0">
              <a:solidFill>
                <a:srgbClr val="000000"/>
              </a:solidFill>
            </a:endParaRPr>
          </a:p>
          <a:p>
            <a:endParaRPr lang="ru-RU" sz="2200" dirty="0">
              <a:solidFill>
                <a:srgbClr val="000000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24141" y="5257800"/>
            <a:ext cx="3147934" cy="1325328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5465" y="1024556"/>
            <a:ext cx="3101553" cy="2403307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41637" y="3915912"/>
            <a:ext cx="3212870" cy="902286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2532" y="3647664"/>
            <a:ext cx="2603218" cy="1438781"/>
          </a:xfrm>
          <a:prstGeom prst="rect">
            <a:avLst/>
          </a:prstGeom>
        </p:spPr>
      </p:pic>
      <p:sp>
        <p:nvSpPr>
          <p:cNvPr id="9" name="Заголовок 1"/>
          <p:cNvSpPr>
            <a:spLocks noGrp="1"/>
          </p:cNvSpPr>
          <p:nvPr>
            <p:ph type="ctrTitle"/>
          </p:nvPr>
        </p:nvSpPr>
        <p:spPr>
          <a:xfrm>
            <a:off x="733381" y="9476"/>
            <a:ext cx="5281448" cy="884421"/>
          </a:xfrm>
        </p:spPr>
        <p:txBody>
          <a:bodyPr/>
          <a:lstStyle/>
          <a:p>
            <a:r>
              <a:rPr lang="ru-RU" sz="3600" dirty="0" smtClean="0">
                <a:solidFill>
                  <a:schemeClr val="accent2"/>
                </a:solidFill>
                <a:latin typeface="Arial Black" panose="020B0A04020102020204" pitchFamily="34" charset="0"/>
              </a:rPr>
              <a:t>Наша История</a:t>
            </a:r>
            <a:endParaRPr lang="ru-RU" sz="3600" dirty="0">
              <a:solidFill>
                <a:schemeClr val="accent2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4378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BD42C2-9CC4-4324-AC1B-3D1B3C09CF98}" type="slidenum">
              <a:rPr lang="ru-RU" smtClean="0"/>
              <a:t>7</a:t>
            </a:fld>
            <a:endParaRPr lang="ru-RU"/>
          </a:p>
        </p:txBody>
      </p:sp>
      <p:sp>
        <p:nvSpPr>
          <p:cNvPr id="14" name="Объект 2"/>
          <p:cNvSpPr txBox="1">
            <a:spLocks/>
          </p:cNvSpPr>
          <p:nvPr/>
        </p:nvSpPr>
        <p:spPr>
          <a:xfrm>
            <a:off x="4501056" y="122111"/>
            <a:ext cx="7397086" cy="661377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ctr" defTabSz="914103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103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103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103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103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10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10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10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10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20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гаФон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 — национальный российский оператор цифровых возможностей, занимающий лидирующие позиции на телекоммуникационном рынке в 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России. </a:t>
            </a:r>
          </a:p>
          <a:p>
            <a:pPr algn="just" fontAlgn="base"/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ервыми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 среди операторов связи внедрили стандарты </a:t>
            </a:r>
            <a:r>
              <a:rPr lang="ru-RU" sz="2000" b="1" dirty="0">
                <a:latin typeface="Arial" panose="020B0604020202020204" pitchFamily="34" charset="0"/>
                <a:cs typeface="Arial" panose="020B0604020202020204" pitchFamily="34" charset="0"/>
              </a:rPr>
              <a:t>3G, 4G, LTE и LTE </a:t>
            </a:r>
            <a:r>
              <a:rPr lang="ru-RU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Advanced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предложили своим клиентам услуги </a:t>
            </a:r>
            <a:r>
              <a:rPr lang="ru-RU" sz="2000" b="1" dirty="0">
                <a:latin typeface="Arial" panose="020B0604020202020204" pitchFamily="34" charset="0"/>
                <a:cs typeface="Arial" panose="020B0604020202020204" pitchFamily="34" charset="0"/>
              </a:rPr>
              <a:t>SMS, MMS и мобильного </a:t>
            </a:r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телевидения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fontAlgn="base"/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ервыми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 продемонстрировали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в сетях 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5G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скорость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ru-RU" sz="2000" b="1" dirty="0">
                <a:latin typeface="Arial" panose="020B0604020202020204" pitchFamily="34" charset="0"/>
                <a:cs typeface="Arial" panose="020B0604020202020204" pitchFamily="34" charset="0"/>
              </a:rPr>
              <a:t>более 1 Гбит/с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 на коммерческом смартфоне в 2018 году и провели </a:t>
            </a:r>
            <a:r>
              <a:rPr lang="ru-RU" sz="2000" b="1" dirty="0">
                <a:latin typeface="Arial" panose="020B0604020202020204" pitchFamily="34" charset="0"/>
                <a:cs typeface="Arial" panose="020B0604020202020204" pitchFamily="34" charset="0"/>
              </a:rPr>
              <a:t>трансляцию футбольного матча в формате VR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 с использованием технологии 5G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 fontAlgn="base"/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Мобильный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интернет от 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МегаФона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четвёртый год подряд признается </a:t>
            </a:r>
            <a:r>
              <a:rPr lang="ru-RU" sz="2000" b="1" dirty="0">
                <a:latin typeface="Arial" panose="020B0604020202020204" pitchFamily="34" charset="0"/>
                <a:cs typeface="Arial" panose="020B0604020202020204" pitchFamily="34" charset="0"/>
              </a:rPr>
              <a:t>самым быстрым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 в стране по результатам международного исследования </a:t>
            </a:r>
            <a:r>
              <a:rPr lang="ru-RU" sz="2000" dirty="0" err="1">
                <a:latin typeface="Arial" panose="020B0604020202020204" pitchFamily="34" charset="0"/>
                <a:cs typeface="Arial" panose="020B0604020202020204" pitchFamily="34" charset="0"/>
              </a:rPr>
              <a:t>Ookla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 fontAlgn="base"/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Услуги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связи МегаФона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доступны почти 100% населения России, при этом около </a:t>
            </a:r>
            <a:r>
              <a:rPr lang="ru-RU" sz="2000" b="1" dirty="0">
                <a:latin typeface="Arial" panose="020B0604020202020204" pitchFamily="34" charset="0"/>
                <a:cs typeface="Arial" panose="020B0604020202020204" pitchFamily="34" charset="0"/>
              </a:rPr>
              <a:t>80%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 имеют доступ к 4G в </a:t>
            </a:r>
            <a:r>
              <a:rPr lang="ru-RU" sz="2000" b="1" dirty="0">
                <a:latin typeface="Arial" panose="020B0604020202020204" pitchFamily="34" charset="0"/>
                <a:cs typeface="Arial" panose="020B0604020202020204" pitchFamily="34" charset="0"/>
              </a:rPr>
              <a:t>83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 регионах страны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 fontAlgn="base"/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Саратовская область – МегаФон, сеть связи более 2 700 базовых станции,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сеть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ВОЛС более 3 700 км.</a:t>
            </a:r>
          </a:p>
          <a:p>
            <a:pPr algn="just" fontAlgn="base"/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Клиенты – более 1 млн. абонентов</a:t>
            </a:r>
          </a:p>
          <a:p>
            <a:pPr algn="just" fontAlgn="base"/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Штат персонала Регионального отделения – 76 человек</a:t>
            </a:r>
          </a:p>
          <a:p>
            <a:endParaRPr lang="ru-RU" sz="2200" dirty="0">
              <a:solidFill>
                <a:srgbClr val="000000"/>
              </a:solidFill>
            </a:endParaRPr>
          </a:p>
          <a:p>
            <a:endParaRPr lang="ru-RU" sz="2200" dirty="0">
              <a:solidFill>
                <a:srgbClr val="000000"/>
              </a:solidFill>
            </a:endParaRPr>
          </a:p>
        </p:txBody>
      </p:sp>
      <p:pic>
        <p:nvPicPr>
          <p:cNvPr id="9218" name="Picture 2" descr="https://i1.photo.2gis.com/images/geo/43/6051712012874530_ce10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21767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4869617" y="6858000"/>
            <a:ext cx="684112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9115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BD42C2-9CC4-4324-AC1B-3D1B3C09CF98}" type="slidenum">
              <a:rPr lang="ru-RU" smtClean="0"/>
              <a:t>8</a:t>
            </a:fld>
            <a:endParaRPr lang="ru-RU"/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4869617" y="6858000"/>
            <a:ext cx="684112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Овал 10"/>
          <p:cNvSpPr/>
          <p:nvPr/>
        </p:nvSpPr>
        <p:spPr>
          <a:xfrm>
            <a:off x="1187116" y="1604210"/>
            <a:ext cx="2584784" cy="2586790"/>
          </a:xfrm>
          <a:prstGeom prst="ellipse">
            <a:avLst/>
          </a:prstGeom>
          <a:solidFill>
            <a:srgbClr val="28B9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 anchorCtr="0">
            <a:noAutofit/>
          </a:bodyPr>
          <a:lstStyle/>
          <a:p>
            <a:pPr algn="ctr"/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16" name="Овал 15"/>
          <p:cNvSpPr/>
          <p:nvPr/>
        </p:nvSpPr>
        <p:spPr>
          <a:xfrm>
            <a:off x="4812633" y="1604210"/>
            <a:ext cx="2548287" cy="2586790"/>
          </a:xfrm>
          <a:prstGeom prst="ellipse">
            <a:avLst/>
          </a:prstGeom>
          <a:solidFill>
            <a:srgbClr val="28B9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 anchorCtr="0">
            <a:noAutofit/>
          </a:bodyPr>
          <a:lstStyle/>
          <a:p>
            <a:pPr algn="ctr"/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17" name="Овал 16"/>
          <p:cNvSpPr/>
          <p:nvPr/>
        </p:nvSpPr>
        <p:spPr>
          <a:xfrm>
            <a:off x="8438149" y="1604210"/>
            <a:ext cx="2565131" cy="2586790"/>
          </a:xfrm>
          <a:prstGeom prst="ellipse">
            <a:avLst/>
          </a:prstGeom>
          <a:solidFill>
            <a:srgbClr val="731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 anchorCtr="0">
            <a:noAutofit/>
          </a:bodyPr>
          <a:lstStyle/>
          <a:p>
            <a:pPr algn="ctr"/>
            <a:endParaRPr lang="ru-RU" sz="1200" dirty="0" smtClean="0">
              <a:solidFill>
                <a:schemeClr val="tx1"/>
              </a:solidFill>
            </a:endParaRPr>
          </a:p>
        </p:txBody>
      </p:sp>
      <p:pic>
        <p:nvPicPr>
          <p:cNvPr id="10244" name="Picture 4" descr="https://on.rbsmi.ru/upload/iblock/98c/98c31f4f6be231a09bfcec1a1c9e27c4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3807"/>
          <a:stretch/>
        </p:blipFill>
        <p:spPr bwMode="auto">
          <a:xfrm>
            <a:off x="8548022" y="1712635"/>
            <a:ext cx="2373121" cy="2375524"/>
          </a:xfrm>
          <a:prstGeom prst="flowChartConnector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6" name="Picture 6" descr="https://cachchoichungkhoan.com/wp-content/uploads/2019/06/1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27" r="22218"/>
          <a:stretch/>
        </p:blipFill>
        <p:spPr bwMode="auto">
          <a:xfrm>
            <a:off x="4908888" y="1683061"/>
            <a:ext cx="2369856" cy="2405098"/>
          </a:xfrm>
          <a:prstGeom prst="flowChartConnector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8" name="Picture 8" descr="https://don24.ru/uploads/2019/12/%D1%8D%D0%BA%D0%BE%D0%BD%D0%BE%D0%BC%D0%B8%D0%BA%D0%B0-xkLl7-ZRCuAqxMeH9kDMpuSDuEmQM_3k/%D0%9C%D0%B5%D0%B3%D0%B0%D1%84%D0%BE%D0%BD_0001-a2_4umT5uwcbUsyjQKy8JICstYsxF5YU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2416"/>
          <a:stretch/>
        </p:blipFill>
        <p:spPr bwMode="auto">
          <a:xfrm>
            <a:off x="1274511" y="1712635"/>
            <a:ext cx="2405949" cy="2375524"/>
          </a:xfrm>
          <a:prstGeom prst="flowChartConnector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/>
          <p:cNvSpPr/>
          <p:nvPr/>
        </p:nvSpPr>
        <p:spPr>
          <a:xfrm>
            <a:off x="4794476" y="4167010"/>
            <a:ext cx="2465740" cy="13234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0" dirty="0" smtClean="0">
                <a:solidFill>
                  <a:srgbClr val="28B93C"/>
                </a:solidFill>
                <a:latin typeface="Arial Black" panose="020B0A04020102020204" pitchFamily="34" charset="0"/>
              </a:rPr>
              <a:t>B2</a:t>
            </a:r>
            <a:r>
              <a:rPr lang="ru-RU" sz="8000" dirty="0" smtClean="0">
                <a:solidFill>
                  <a:srgbClr val="28B93C"/>
                </a:solidFill>
                <a:latin typeface="Arial Black" panose="020B0A04020102020204" pitchFamily="34" charset="0"/>
              </a:rPr>
              <a:t>Х</a:t>
            </a:r>
            <a:endParaRPr lang="en-US" sz="8000" dirty="0" smtClean="0">
              <a:solidFill>
                <a:srgbClr val="28B93C"/>
              </a:solidFill>
              <a:latin typeface="Arial Black" panose="020B0A040201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8459792" y="4167010"/>
            <a:ext cx="2521844" cy="13234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0" dirty="0">
                <a:solidFill>
                  <a:srgbClr val="731982"/>
                </a:solidFill>
                <a:latin typeface="Arial Black" panose="020B0A04020102020204" pitchFamily="34" charset="0"/>
              </a:rPr>
              <a:t>B2O</a:t>
            </a:r>
            <a:endParaRPr lang="ru-RU" sz="8000" dirty="0">
              <a:solidFill>
                <a:srgbClr val="731982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226066" y="4191000"/>
            <a:ext cx="2465740" cy="13234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0" dirty="0">
                <a:solidFill>
                  <a:srgbClr val="28B93C"/>
                </a:solidFill>
                <a:latin typeface="Arial Black" panose="020B0A04020102020204" pitchFamily="34" charset="0"/>
              </a:rPr>
              <a:t>B2C</a:t>
            </a:r>
          </a:p>
        </p:txBody>
      </p:sp>
      <p:sp>
        <p:nvSpPr>
          <p:cNvPr id="24" name="Заголовок 11"/>
          <p:cNvSpPr txBox="1">
            <a:spLocks/>
          </p:cNvSpPr>
          <p:nvPr/>
        </p:nvSpPr>
        <p:spPr>
          <a:xfrm>
            <a:off x="106680" y="345084"/>
            <a:ext cx="10296494" cy="71853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ru-RU" sz="4000" dirty="0" smtClean="0">
                <a:solidFill>
                  <a:schemeClr val="accent2"/>
                </a:solidFill>
                <a:latin typeface="Arial Black" panose="020B0A04020102020204" pitchFamily="34" charset="0"/>
              </a:rPr>
              <a:t>Основные направления бизнеса</a:t>
            </a:r>
          </a:p>
        </p:txBody>
      </p:sp>
      <p:sp>
        <p:nvSpPr>
          <p:cNvPr id="14" name="Заголовок 11"/>
          <p:cNvSpPr txBox="1">
            <a:spLocks/>
          </p:cNvSpPr>
          <p:nvPr/>
        </p:nvSpPr>
        <p:spPr>
          <a:xfrm>
            <a:off x="0" y="5514439"/>
            <a:ext cx="12192000" cy="71853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ru-RU" sz="2000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уги мобильной и фиксированной связи, передачи данных, аренда каналов связи, доступа в интернет, </a:t>
            </a:r>
            <a:r>
              <a:rPr lang="ru-RU" sz="2000" dirty="0" err="1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лематические</a:t>
            </a:r>
            <a:r>
              <a:rPr lang="ru-RU" sz="2000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услуги, </a:t>
            </a:r>
            <a:r>
              <a:rPr lang="en-US" sz="2000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S-</a:t>
            </a:r>
            <a:r>
              <a:rPr lang="ru-RU" sz="2000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уги.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21331" y="260919"/>
            <a:ext cx="1399936" cy="1564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5835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60132" y="182880"/>
            <a:ext cx="8613048" cy="2716564"/>
          </a:xfrm>
        </p:spPr>
        <p:txBody>
          <a:bodyPr/>
          <a:lstStyle/>
          <a:p>
            <a:r>
              <a:rPr lang="ru-RU" sz="2000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атегия ПАО «МегаФон» «Развиваем </a:t>
            </a:r>
            <a:r>
              <a:rPr lang="ru-RU" sz="20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ифровой мир». </a:t>
            </a:r>
            <a:r>
              <a:rPr lang="ru-RU" sz="2000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ссия компании: «Подключаем возможности</a:t>
            </a:r>
            <a:r>
              <a:rPr lang="ru-RU" sz="2000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.</a:t>
            </a:r>
            <a:br>
              <a:rPr lang="ru-RU" sz="2000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20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гаФон дает своим </a:t>
            </a:r>
            <a:r>
              <a:rPr lang="ru-RU" sz="2000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бонентам </a:t>
            </a:r>
            <a:r>
              <a:rPr lang="ru-RU" sz="20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ности для иного качества жизни либо потребления традиционных услуг в новом </a:t>
            </a:r>
            <a:r>
              <a:rPr lang="ru-RU" sz="2000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рмате».</a:t>
            </a:r>
            <a:br>
              <a:rPr lang="ru-RU" sz="2000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до компании: «Выбор № 1 и лучший партнер для жизни»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BD42C2-9CC4-4324-AC1B-3D1B3C09CF98}" type="slidenum">
              <a:rPr lang="ru-RU" smtClean="0"/>
              <a:t>9</a:t>
            </a:fld>
            <a:endParaRPr lang="ru-RU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140" y="3429000"/>
            <a:ext cx="5661554" cy="274320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98154" y="3429000"/>
            <a:ext cx="5733826" cy="274320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73179" y="362474"/>
            <a:ext cx="2886932" cy="2886932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9314969" y="3485213"/>
            <a:ext cx="3546428" cy="9781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sz="4800" dirty="0">
                <a:solidFill>
                  <a:schemeClr val="bg1"/>
                </a:solidFill>
                <a:latin typeface="Arial Black" panose="020B0A04020102020204" pitchFamily="34" charset="0"/>
              </a:rPr>
              <a:t>248 </a:t>
            </a:r>
            <a:r>
              <a:rPr lang="ru-RU" sz="480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674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514321" y="3664009"/>
            <a:ext cx="3122106" cy="2697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БС МегаФона в РФ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504013" y="3568054"/>
            <a:ext cx="609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 sz="1200" b="0" i="0" u="none" strike="noStrike" kern="1200" spc="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pPr>
            <a:r>
              <a:rPr lang="ru-RU" dirty="0">
                <a:solidFill>
                  <a:schemeClr val="bg1"/>
                </a:solidFill>
                <a:latin typeface="Arial Black" panose="020B0A04020102020204" pitchFamily="34" charset="0"/>
              </a:rPr>
              <a:t>Основано на анализе данных</a:t>
            </a:r>
          </a:p>
          <a:p>
            <a:pPr algn="ctr">
              <a:defRPr sz="1200" b="0" i="0" u="none" strike="noStrike" kern="1200" spc="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bg1"/>
                </a:solidFill>
                <a:latin typeface="Arial Black" panose="020B0A04020102020204" pitchFamily="34" charset="0"/>
              </a:rPr>
              <a:t>OOKLA® </a:t>
            </a:r>
            <a:r>
              <a:rPr lang="en-US" dirty="0" err="1">
                <a:solidFill>
                  <a:schemeClr val="bg1"/>
                </a:solidFill>
                <a:latin typeface="Arial Black" panose="020B0A04020102020204" pitchFamily="34" charset="0"/>
              </a:rPr>
              <a:t>SpeedTest</a:t>
            </a:r>
            <a:r>
              <a:rPr lang="en-US" dirty="0">
                <a:solidFill>
                  <a:schemeClr val="bg1"/>
                </a:solidFill>
                <a:latin typeface="Arial Black" panose="020B0A04020102020204" pitchFamily="34" charset="0"/>
              </a:rPr>
              <a:t>®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6436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017_MegaFon">
  <a:themeElements>
    <a:clrScheme name="Megaphon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28B93C"/>
      </a:accent1>
      <a:accent2>
        <a:srgbClr val="731982"/>
      </a:accent2>
      <a:accent3>
        <a:srgbClr val="5BD9E5"/>
      </a:accent3>
      <a:accent4>
        <a:srgbClr val="444189"/>
      </a:accent4>
      <a:accent5>
        <a:srgbClr val="FFA717"/>
      </a:accent5>
      <a:accent6>
        <a:srgbClr val="EB5A40"/>
      </a:accent6>
      <a:hlink>
        <a:srgbClr val="0563C1"/>
      </a:hlink>
      <a:folHlink>
        <a:srgbClr val="954F72"/>
      </a:folHlink>
    </a:clrScheme>
    <a:fontScheme name="Custom 2">
      <a:majorFont>
        <a:latin typeface="PF DinDisplay Pro"/>
        <a:ea typeface=""/>
        <a:cs typeface=""/>
      </a:majorFont>
      <a:minorFont>
        <a:latin typeface="PF DinDisplay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8AFADD"/>
        </a:solidFill>
        <a:ln>
          <a:noFill/>
        </a:ln>
      </a:spPr>
      <a:bodyPr lIns="72000" tIns="36000" rIns="72000" bIns="36000" rtlCol="0" anchor="ctr" anchorCtr="0">
        <a:noAutofit/>
      </a:bodyPr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16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171212_Master_Megafon_v8_russ_dada.pptx" id="{2694D020-C0EC-49A7-9A97-8B1A65519322}" vid="{7F9E97A4-098C-4AED-AF73-C7495AC81A1B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312</TotalTime>
  <Words>1560</Words>
  <Application>Microsoft Office PowerPoint</Application>
  <PresentationFormat>Широкоэкранный</PresentationFormat>
  <Paragraphs>360</Paragraphs>
  <Slides>22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2</vt:i4>
      </vt:variant>
    </vt:vector>
  </HeadingPairs>
  <TitlesOfParts>
    <vt:vector size="34" baseType="lpstr">
      <vt:lpstr>Arial</vt:lpstr>
      <vt:lpstr>Arial Black</vt:lpstr>
      <vt:lpstr>Calibri</vt:lpstr>
      <vt:lpstr>Calibri Light</vt:lpstr>
      <vt:lpstr>GT Walsheim Pro</vt:lpstr>
      <vt:lpstr>GT Walsheim Pro Black</vt:lpstr>
      <vt:lpstr>PF DinDisplay Pro</vt:lpstr>
      <vt:lpstr>Symbol</vt:lpstr>
      <vt:lpstr>Times New Roman</vt:lpstr>
      <vt:lpstr>Тема Office</vt:lpstr>
      <vt:lpstr>2017_MegaFon</vt:lpstr>
      <vt:lpstr>think-cell Slide</vt:lpstr>
      <vt:lpstr>Презентация PowerPoint</vt:lpstr>
      <vt:lpstr>Динамика рынка мобильной связи 1999 – 2019 (Абоненты)</vt:lpstr>
      <vt:lpstr>Динамика рынка мобильной связи 1999-2019 (выручка)  </vt:lpstr>
      <vt:lpstr>Новый рынок – ИТ - интеграция </vt:lpstr>
      <vt:lpstr>Наш новый рынок ИТ-интеграция </vt:lpstr>
      <vt:lpstr>Наша История</vt:lpstr>
      <vt:lpstr>Презентация PowerPoint</vt:lpstr>
      <vt:lpstr>Презентация PowerPoint</vt:lpstr>
      <vt:lpstr>Стратегия ПАО «МегаФон» «Развиваем цифровой мир».   Миссия компании: «Подключаем возможности».   «МегаФон дает своим Абонентам возможности для иного качества жизни либо потребления традиционных услуг в новом формате».  Кредо компании: «Выбор № 1 и лучший партнер для жизни». </vt:lpstr>
      <vt:lpstr>Презентация PowerPoint</vt:lpstr>
      <vt:lpstr>Освоение нового рынка</vt:lpstr>
      <vt:lpstr>Матрица власти/интересов</vt:lpstr>
      <vt:lpstr>SWOT-анализ</vt:lpstr>
      <vt:lpstr>Задачи и этапы проекта</vt:lpstr>
      <vt:lpstr>План-график проекта</vt:lpstr>
      <vt:lpstr>РИСКИ ПРОЕКТА / УПРАВЛЕНИЕ</vt:lpstr>
      <vt:lpstr>Бюджет проекта</vt:lpstr>
      <vt:lpstr>Эффективность проекта (коммерческая)</vt:lpstr>
      <vt:lpstr>Эффективность проекта (социальные и маркетинговые показатели)</vt:lpstr>
      <vt:lpstr>Презентация PowerPoint</vt:lpstr>
      <vt:lpstr>Презентация PowerPoint</vt:lpstr>
      <vt:lpstr>Презентация PowerPoint</vt:lpstr>
    </vt:vector>
  </TitlesOfParts>
  <Company>ПАО "МегаФон"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ndrey Levinsky (HQ)</dc:creator>
  <cp:lastModifiedBy>Andrey Bashkevich (VLG)</cp:lastModifiedBy>
  <cp:revision>546</cp:revision>
  <cp:lastPrinted>2019-04-12T14:28:18Z</cp:lastPrinted>
  <dcterms:created xsi:type="dcterms:W3CDTF">2018-04-18T10:25:57Z</dcterms:created>
  <dcterms:modified xsi:type="dcterms:W3CDTF">2020-12-04T12:09:31Z</dcterms:modified>
</cp:coreProperties>
</file>